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authors.xml" ContentType="application/vnd.ms-powerpoint.authors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4.xml" ContentType="application/vnd.openxmlformats-officedocument.presentationml.tag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53" r:id="rId3"/>
    <p:sldMasterId id="2147483648" r:id="rId4"/>
  </p:sldMasterIdLst>
  <p:notesMasterIdLst>
    <p:notesMasterId r:id="rId18"/>
  </p:notesMasterIdLst>
  <p:sldIdLst>
    <p:sldId id="2147482299" r:id="rId5"/>
    <p:sldId id="2147482318" r:id="rId6"/>
    <p:sldId id="2147482317" r:id="rId7"/>
    <p:sldId id="2147482319" r:id="rId8"/>
    <p:sldId id="2147482268" r:id="rId9"/>
    <p:sldId id="2147482266" r:id="rId10"/>
    <p:sldId id="2147482320" r:id="rId11"/>
    <p:sldId id="2147482260" r:id="rId12"/>
    <p:sldId id="2147482262" r:id="rId13"/>
    <p:sldId id="2887" r:id="rId14"/>
    <p:sldId id="2147482274" r:id="rId15"/>
    <p:sldId id="2147482316" r:id="rId16"/>
    <p:sldId id="214748227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68D620-BEF6-6122-F899-9C2CAC29C7F8}" name="Brook Riley" initials="BR" userId="S::brook.riley@rockwool.com::45eeb670-7b74-47fe-837c-45651782cc8a" providerId="AD"/>
  <p188:author id="{720633F3-C707-96E4-7855-1EA440C4EDEF}" name="Kristoffer B. Rasmussen" initials="KR" userId="S::kristoffer.rasmussen@rockwool.com::9de8a322-57b9-48cc-869a-b153736a0f3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513" autoAdjust="0"/>
  </p:normalViewPr>
  <p:slideViewPr>
    <p:cSldViewPr snapToGrid="0">
      <p:cViewPr varScale="1">
        <p:scale>
          <a:sx n="59" d="100"/>
          <a:sy n="59" d="100"/>
        </p:scale>
        <p:origin x="94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customXml" Target="../customXml/item5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ustomXml" Target="../customXml/item4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ustomXml" Target="../customXml/item3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BF1B9F-9315-4036-8F1E-D64DF147FED9}" type="datetimeFigureOut">
              <a:t>3/1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3D35A3-9948-4059-8D48-2B74DACDA14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489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FDD13DF-9200-4B73-8BCA-B761768CAD82}" type="datetime4">
              <a:rPr lang="en-GB" smtClean="0">
                <a:solidFill>
                  <a:srgbClr val="000000"/>
                </a:solidFill>
              </a:rPr>
              <a:t>18 March 2025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>
                <a:solidFill>
                  <a:srgbClr val="000000"/>
                </a:solidFill>
              </a:rPr>
              <a:pPr/>
              <a:t>1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861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3D35A3-9948-4059-8D48-2B74DACDA14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5849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800" b="0" u="none" dirty="0">
              <a:effectLst/>
              <a:latin typeface="+mn-lt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A76962-A1B7-4139-80EB-458AE915E0F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274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074CC6-E848-7358-1959-08C3CB4D79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52BD40-CDC8-F8B7-7808-E7CE03249DB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AB1B33-5785-FDE4-54A7-5EC0187D5C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DF34D0-47C7-A518-3FF3-0DE09A9AEC7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27706-0C87-49D5-B5A2-137B7C34B896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C799C-C692-758E-9107-63ECE3C7960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07AA2F-689D-65CD-95BF-39789DBAEF9B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6FD45FA1-C22D-92D3-299E-AD66C5CEEE2A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7098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07DCF8-1C9F-0806-61A7-E461F02165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C938675-1B13-0EA8-217F-3A27558ED27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FF055AD-D0BD-D994-A2C7-CFD4C26582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E228C-A34A-F76D-C99C-A1DD2357AFEE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E27706-0C87-49D5-B5A2-137B7C34B896}" type="datetime4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6805B9-EDB2-104D-5A9E-034343D0783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ECB62B-98BB-BB9E-B8D6-13882BB6A6F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19294D53-74FD-1F3D-2A75-BFF68E7A547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4463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06E5795-D88F-495F-9D00-5D613ACA3872}" type="datetime4">
              <a:rPr lang="en-GB" smtClean="0">
                <a:solidFill>
                  <a:srgbClr val="000000"/>
                </a:solidFill>
              </a:rPr>
              <a:t>18 March 2025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>
                <a:solidFill>
                  <a:srgbClr val="000000"/>
                </a:solidFill>
              </a:rPr>
              <a:pPr/>
              <a:t>9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468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93EA3B-99F0-6D6A-D3F6-E956D32C2D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5CFE11-0E28-608F-83E7-6CCA65CA9EF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D4341D-34E4-C247-C16B-D6D236391D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6928E0-0E21-8DD3-8785-DD3C24E0300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70E27706-0C87-49D5-B5A2-137B7C34B896}" type="datetime4">
              <a:rPr lang="en-GB" smtClean="0">
                <a:solidFill>
                  <a:srgbClr val="000000"/>
                </a:solidFill>
              </a:rPr>
              <a:t>18 March 2025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727ED3-81F1-3B5A-2ABF-CD03EE3ECB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>
                <a:solidFill>
                  <a:srgbClr val="000000"/>
                </a:solidFill>
              </a:rPr>
              <a:pPr/>
              <a:t>10</a:t>
            </a:fld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C0B865-9A0C-3DAC-6B80-7C3FFA8670D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  <p:sp>
        <p:nvSpPr>
          <p:cNvPr id="7" name="Header Placeholder 6">
            <a:extLst>
              <a:ext uri="{FF2B5EF4-FFF2-40B4-BE49-F238E27FC236}">
                <a16:creationId xmlns:a16="http://schemas.microsoft.com/office/drawing/2014/main" id="{AF7F93D3-22DC-FB5B-981F-3248A504B8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3371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800" b="0" u="none" dirty="0">
              <a:effectLst/>
              <a:latin typeface="+mn-lt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A76962-A1B7-4139-80EB-458AE915E0F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274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Logo">
            <a:extLst>
              <a:ext uri="{FF2B5EF4-FFF2-40B4-BE49-F238E27FC236}">
                <a16:creationId xmlns:a16="http://schemas.microsoft.com/office/drawing/2014/main" id="{9D8D5127-1EE9-4765-998C-48F732354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2004" y="5333890"/>
            <a:ext cx="4169190" cy="762110"/>
          </a:xfrm>
          <a:prstGeom prst="rect">
            <a:avLst/>
          </a:prstGeom>
        </p:spPr>
      </p:pic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3340FD-F5D0-4C67-974A-98C2C22696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3200" cy="45720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en-GB"/>
              <a:t>Click on frame and insert picture from the Templafy pane</a:t>
            </a:r>
          </a:p>
        </p:txBody>
      </p:sp>
      <p:sp>
        <p:nvSpPr>
          <p:cNvPr id="3" name="Transperancy 2"/>
          <p:cNvSpPr>
            <a:spLocks noGrp="1"/>
          </p:cNvSpPr>
          <p:nvPr>
            <p:ph type="subTitle" idx="1" hasCustomPrompt="1"/>
          </p:nvPr>
        </p:nvSpPr>
        <p:spPr>
          <a:xfrm>
            <a:off x="7621200" y="4381200"/>
            <a:ext cx="1904400" cy="381600"/>
          </a:xfrm>
          <a:solidFill>
            <a:schemeClr val="accent1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000" y="767307"/>
            <a:ext cx="6849000" cy="1342799"/>
          </a:xfrm>
        </p:spPr>
        <p:txBody>
          <a:bodyPr anchor="b"/>
          <a:lstStyle>
            <a:lvl1pPr algn="l">
              <a:lnSpc>
                <a:spcPct val="8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95BFA8-2E20-48BF-1DBF-F3A2E9453F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1000" y="2163046"/>
            <a:ext cx="6849000" cy="51235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in one lin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715000" y="5710826"/>
            <a:ext cx="5709900" cy="372601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FBF8BF48-D246-4772-8435-241CE01BA234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26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C 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45A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rgbClr val="EBEA79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392B96E3-4B7B-45C0-B927-16FEFFBAFF0C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13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D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F77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A4335755-2AE6-42F4-87AC-D991C0840450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53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9C7D75DB-B2DB-4E14-B3D7-E40A11D7D09D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chemeClr val="accent4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rgbClr val="FF7768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chemeClr val="accent4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94699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F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D12B838F-00ED-4F0B-B269-895A69528461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chemeClr val="accent2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chemeClr val="accent2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83342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G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F7AA57F5-4647-4C89-8437-46A482A5AA3B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rgbClr val="45A6DE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rgbClr val="EBEA79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rgbClr val="45A6DE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55860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H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EBC3FDD2-B59A-496C-B875-28F95816F64D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rgbClr val="FF7768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rgbClr val="FF7768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74177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                                          Enter &amp; TAB for next text level                      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F8B6A84-557F-4839-9E1B-F59D10B6CF53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51EF448-C440-4309-A480-157552AF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72D2E-F237-4379-8BF5-3510619CAABF}" type="datetime4">
              <a:rPr lang="en-US" smtClean="0"/>
              <a:t>March 18, 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9F01541-E437-4D01-AC4E-8930032FB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C56B528-45A5-4AF8-B674-4E4AB8F15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no not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                                          Enter &amp; TAB for next text level                      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51EF448-C440-4309-A480-157552AF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603A2-3329-4F4D-9B25-E16523CB3327}" type="datetime4">
              <a:rPr lang="en-US" smtClean="0"/>
              <a:t>March 18, 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9F01541-E437-4D01-AC4E-8930032FB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C56B528-45A5-4AF8-B674-4E4AB8F15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9150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5000" y="1524000"/>
            <a:ext cx="5526000" cy="41910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B18CCCB-46D5-418C-A012-93DB5C34446D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F8B7E-C2D4-46D2-A1C6-44A7FD3C9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62DA0-62FB-4E8C-8EFF-134293C24EF1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5208D-2A22-4845-85FB-24466F775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618AB4-B1C5-4873-891C-D47012FD0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600" y="1522800"/>
            <a:ext cx="5526000" cy="4190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8EB7FAD-CB58-4151-92BB-E1EFD6064F15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5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DB8068D-3AE7-4E53-B0A0-58683CA373E6}" type="datetime4">
              <a:rPr lang="en-US" smtClean="0"/>
              <a:t>March 18,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How to get to big scale renovations |  20 March 2025  |   ROCKWOOL A/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F0F45F8-DFED-33AA-CAE9-44A740A46DF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5" name="Logo neg">
            <a:extLst>
              <a:ext uri="{FF2B5EF4-FFF2-40B4-BE49-F238E27FC236}">
                <a16:creationId xmlns:a16="http://schemas.microsoft.com/office/drawing/2014/main" id="{6C611107-C60C-B2BA-08D1-3FD890AE10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993" y="5333890"/>
            <a:ext cx="4169201" cy="7621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000" y="767307"/>
            <a:ext cx="6849000" cy="1342799"/>
          </a:xfrm>
        </p:spPr>
        <p:txBody>
          <a:bodyPr anchor="b"/>
          <a:lstStyle>
            <a:lvl1pPr algn="l">
              <a:lnSpc>
                <a:spcPct val="8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95BFA8-2E20-48BF-1DBF-F3A2E9453F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1000" y="2163046"/>
            <a:ext cx="6849000" cy="51235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rgbClr val="FF7768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in one lin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715000" y="5710826"/>
            <a:ext cx="5709900" cy="372601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>
                <a:solidFill>
                  <a:srgbClr val="FF7768"/>
                </a:solidFill>
              </a:defRPr>
            </a:lvl1pPr>
          </a:lstStyle>
          <a:p>
            <a:fld id="{1042F968-BCFD-4E69-A232-6CB4764848A9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>
            <a:lvl1pPr>
              <a:defRPr>
                <a:solidFill>
                  <a:srgbClr val="FF7768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632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9413" y="1522800"/>
            <a:ext cx="5526000" cy="4190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44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8EB7FAD-CB58-4151-92BB-E1EFD6064F15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B624648-DD98-416C-9C8F-A917CDC9F711}" type="datetime4">
              <a:rPr lang="en-US" smtClean="0"/>
              <a:t>March 18,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How to get to big scale renovations |  20 March 2025  |   ROCKWOOL A/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0979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755F7-DF62-4241-A15D-BE596D2B6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897BD33-3C11-4D04-BB04-3353B3113F39}"/>
              </a:ext>
            </a:extLst>
          </p:cNvPr>
          <p:cNvSpPr>
            <a:spLocks noGrp="1"/>
          </p:cNvSpPr>
          <p:nvPr>
            <p:ph type="subTitle" idx="43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CF8D6C-4EF3-4616-9C0F-8FAC8E079E06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331F790C-E9A0-4772-909F-2EA880F9AFEC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F5A4F-0E64-45B4-9286-853A772427F3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D74C2-9815-410D-9AA8-E8AE79B5049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5885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755F7-DF62-4241-A15D-BE596D2B6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19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0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897BD33-3C11-4D04-BB04-3353B3113F39}"/>
              </a:ext>
            </a:extLst>
          </p:cNvPr>
          <p:cNvSpPr>
            <a:spLocks noGrp="1"/>
          </p:cNvSpPr>
          <p:nvPr>
            <p:ph type="subTitle" idx="43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CF8D6C-4EF3-4616-9C0F-8FAC8E079E06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EEDF1B38-5177-4AE7-86D3-3E99BC112AE3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F5A4F-0E64-45B4-9286-853A772427F3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D74C2-9815-410D-9AA8-E8AE79B5049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E8AF22-E690-0ECA-0995-B74E16D7442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1000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5CAD66A-D138-6C1A-9C9F-97BAB13D67B5}"/>
              </a:ext>
            </a:extLst>
          </p:cNvPr>
          <p:cNvCxnSpPr/>
          <p:nvPr userDrawn="1"/>
        </p:nvCxnSpPr>
        <p:spPr>
          <a:xfrm>
            <a:off x="3810000" y="1143000"/>
            <a:ext cx="0" cy="4572000"/>
          </a:xfrm>
          <a:prstGeom prst="line">
            <a:avLst/>
          </a:prstGeom>
          <a:ln w="19050">
            <a:solidFill>
              <a:srgbClr val="B1B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74DDF7A-D1A6-9F06-229F-F677CCE34CD1}"/>
              </a:ext>
            </a:extLst>
          </p:cNvPr>
          <p:cNvCxnSpPr/>
          <p:nvPr userDrawn="1"/>
        </p:nvCxnSpPr>
        <p:spPr>
          <a:xfrm>
            <a:off x="7626000" y="1143000"/>
            <a:ext cx="0" cy="4572000"/>
          </a:xfrm>
          <a:prstGeom prst="line">
            <a:avLst/>
          </a:prstGeom>
          <a:ln w="19050">
            <a:solidFill>
              <a:srgbClr val="B1B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8FB1B65-4A12-49EC-22DF-CCC2726DB7F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196999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33A5C19-E9B6-2DB6-045B-F65F9565323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12998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018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 Back- grou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0" tIns="72000" rIns="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486A750-B97D-4993-BCB3-7C5DB5E4B85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E29E3-649D-4719-A4B5-0002DF680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7238400" cy="763200"/>
          </a:xfrm>
        </p:spPr>
        <p:txBody>
          <a:bodyPr r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96C5512-9FC7-3B49-FA40-E08FD6A141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EFEC2EA-A13B-DD65-16D5-AC7424BE33B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C36F26EA-42FF-FDBC-BA1C-51857A8C829D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17DE37C-EAFB-4E63-9A46-E1F2BC44AB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DD79BEF8-A1F2-4AB2-A5D2-11412A967963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CE4475-6D07-4E7D-9CD6-492950DBB11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D8F405-6DC4-4C9C-B103-557154FD7F9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1983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 Back- ground Pictur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lIns="0" tIns="72000" rIns="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light background picture from the Templafy pan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486A750-B97D-4993-BCB3-7C5DB5E4B85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E29E3-649D-4719-A4B5-0002DF680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84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10C7EFD-C8DB-F998-1DCC-E0C9A77B1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881817D-60AB-1AA4-FFB7-B6ABE9A22A8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A6A9BC1F-0572-63E3-91BC-F94739C198F0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6740E22-722A-4868-91BF-82EF5C5786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884F0E60-6A4A-4A18-9B7F-8A226D317065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6F3ABB-AE28-4A16-8D9D-42F57FB8016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9CC896-A008-4277-9E8B-A1281FAC431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98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57144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7168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1200" y="381000"/>
            <a:ext cx="4572000" cy="5333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5714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5A30A2A9-40F1-47BA-86F8-2C8A138333A3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30400" y="1522800"/>
            <a:ext cx="381600" cy="11448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06172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381000"/>
            <a:ext cx="6854521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68574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1200" y="0"/>
            <a:ext cx="4572000" cy="5714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68580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58CE2025-D3DE-459D-8265-23E3B8227694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30400" y="3810000"/>
            <a:ext cx="381600" cy="1524000"/>
          </a:xfrm>
          <a:solidFill>
            <a:srgbClr val="1AB092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431019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53000" cy="60960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0" y="381000"/>
            <a:ext cx="647412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34160" y="1524000"/>
            <a:ext cx="6476839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Enter &amp; TAB for next text level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5333999" y="5716800"/>
            <a:ext cx="6476999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F209CDED-2113-4064-B3AB-469C9E08EEBA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61900" y="3810000"/>
            <a:ext cx="381600" cy="1524000"/>
          </a:xfrm>
          <a:solidFill>
            <a:srgbClr val="EBEA79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103341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381000"/>
            <a:ext cx="11429401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3334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114300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FA798003-A276-4C67-B7A6-D5A32C3E615D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F72C521-0300-79A6-EF12-51DFDAFAB0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96000" y="1524000"/>
            <a:ext cx="1143000" cy="1143000"/>
          </a:xfrm>
          <a:solidFill>
            <a:srgbClr val="45A6DE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4995E9E-F16F-BE0F-CC43-624C5499C30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39000" y="1524000"/>
            <a:ext cx="4572000" cy="1143000"/>
          </a:xfrm>
          <a:solidFill>
            <a:srgbClr val="D0E9F7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DA0D17A-DB76-3595-3B87-468856574A3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6000" y="2857500"/>
            <a:ext cx="1143000" cy="11430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46E97E28-6DD1-4320-C56D-75B068252C3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39000" y="2857500"/>
            <a:ext cx="4572000" cy="1143000"/>
          </a:xfrm>
          <a:solidFill>
            <a:srgbClr val="FFDDD9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4861D42-9ECF-8E1D-1EB0-BE52188C9D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95400" y="4191000"/>
            <a:ext cx="1143000" cy="1143000"/>
          </a:xfrm>
          <a:solidFill>
            <a:srgbClr val="D6BB74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A3FAAEF-EB9D-D65E-ED63-7AAD8A1D785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38400" y="4191000"/>
            <a:ext cx="4572000" cy="1143000"/>
          </a:xfrm>
          <a:solidFill>
            <a:srgbClr val="F5EEDC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5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51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: Eight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DB92-B71D-4CA3-BED1-AE9C07E7F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858000" cy="763200"/>
          </a:xfrm>
        </p:spPr>
        <p:txBody>
          <a:bodyPr rIns="0"/>
          <a:lstStyle>
            <a:lvl1pPr>
              <a:defRPr sz="20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BA15FE-0F14-44D9-BA17-21995E2C14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524000"/>
            <a:ext cx="2570400" cy="19044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3pPr marL="270000" indent="-126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396000" indent="-126000">
              <a:spcBef>
                <a:spcPts val="0"/>
              </a:spcBef>
              <a:buFont typeface="Avenir Next LT Pro" panose="020B0504020202020204" pitchFamily="34" charset="0"/>
              <a:buChar char="–"/>
              <a:defRPr sz="1400" b="0"/>
            </a:lvl4pPr>
            <a:lvl5pPr>
              <a:defRPr sz="1600"/>
            </a:lvl5pPr>
          </a:lstStyle>
          <a:p>
            <a:pPr lvl="0"/>
            <a:r>
              <a:rPr lang="en-GB"/>
              <a:t>Click to add short intro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6165A88-E664-4A2D-A582-4001D9B7E2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3810000"/>
            <a:ext cx="2570400" cy="1905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F34624D-90F7-4331-AA65-C99AAE4BC1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30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DC63C98-80B0-43ED-A5A3-CA7C5FB7913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30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CA2038F-77F7-46CD-9F73-7EEF2FE84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892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E1C7D49-A5E0-4CB4-9656-ADE8FA685F0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892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6pPr>
              <a:defRPr/>
            </a:lvl6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35DBD11-565F-4EA8-914D-E9EE99A42F0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34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endParaRPr lang="en-GB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BCA86996-965A-4D13-B4A6-A6C7C77B306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234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5088870-3977-44B5-8E0C-C2DD706611A2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C3061E-84D3-44E8-83E2-B6EFB6BA83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1762DDD1-1702-4F5C-825A-599E71275651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F57AD-E863-460B-A6C8-926CA64BD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38D47F-C454-4616-B35B-410770E9E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6693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Logo">
            <a:extLst>
              <a:ext uri="{FF2B5EF4-FFF2-40B4-BE49-F238E27FC236}">
                <a16:creationId xmlns:a16="http://schemas.microsoft.com/office/drawing/2014/main" id="{9D8D5127-1EE9-4765-998C-48F732354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2004" y="5333890"/>
            <a:ext cx="4169190" cy="762110"/>
          </a:xfrm>
          <a:prstGeom prst="rect">
            <a:avLst/>
          </a:prstGeom>
        </p:spPr>
      </p:pic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3340FD-F5D0-4C67-974A-98C2C22696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761999"/>
            <a:ext cx="6858000" cy="3810001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GB"/>
              <a:t>Click on frame and insert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41200" y="763200"/>
            <a:ext cx="3988800" cy="2394000"/>
          </a:xfrm>
        </p:spPr>
        <p:txBody>
          <a:bodyPr anchor="b"/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436100" y="3437399"/>
            <a:ext cx="3988800" cy="3726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1600">
                <a:solidFill>
                  <a:schemeClr val="tx1"/>
                </a:solidFill>
              </a:defRPr>
            </a:lvl1pPr>
          </a:lstStyle>
          <a:p>
            <a:fld id="{F2C75364-65F5-4E11-B262-BFDC2F3A6B59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ransperancy 2"/>
          <p:cNvSpPr>
            <a:spLocks noGrp="1"/>
          </p:cNvSpPr>
          <p:nvPr>
            <p:ph type="subTitle" idx="1" hasCustomPrompt="1"/>
          </p:nvPr>
        </p:nvSpPr>
        <p:spPr>
          <a:xfrm>
            <a:off x="5335200" y="572400"/>
            <a:ext cx="1144800" cy="381600"/>
          </a:xfrm>
          <a:solidFill>
            <a:schemeClr val="accent6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: Eight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DB92-B71D-4CA3-BED1-AE9C07E7F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857400" cy="763200"/>
          </a:xfrm>
        </p:spPr>
        <p:txBody>
          <a:bodyPr rIns="0"/>
          <a:lstStyle>
            <a:lvl1pPr>
              <a:defRPr sz="20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BA15FE-0F14-44D9-BA17-21995E2C14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524000"/>
            <a:ext cx="2570400" cy="19044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3pPr marL="270000" indent="-126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396000" indent="-126000">
              <a:spcBef>
                <a:spcPts val="0"/>
              </a:spcBef>
              <a:buFont typeface="Avenir Next LT Pro" panose="020B0504020202020204" pitchFamily="34" charset="0"/>
              <a:buChar char="–"/>
              <a:defRPr sz="1400" b="0"/>
            </a:lvl4pPr>
          </a:lstStyle>
          <a:p>
            <a:pPr lvl="0"/>
            <a:r>
              <a:rPr lang="en-GB"/>
              <a:t>Click to add short intro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6165A88-E664-4A2D-A582-4001D9B7E2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3810000"/>
            <a:ext cx="2570400" cy="1905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F34624D-90F7-4331-AA65-C99AAE4BC1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30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DC63C98-80B0-43ED-A5A3-CA7C5FB7913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30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CA2038F-77F7-46CD-9F73-7EEF2FE84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892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E1C7D49-A5E0-4CB4-9656-ADE8FA685F0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892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6pPr>
              <a:defRPr/>
            </a:lvl6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5A2E69DB-E5BA-495E-BCBA-614128A5C3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48400" y="581598"/>
            <a:ext cx="2570400" cy="5132802"/>
          </a:xfrm>
          <a:solidFill>
            <a:schemeClr val="accent4"/>
          </a:solidFill>
        </p:spPr>
        <p:txBody>
          <a:bodyPr lIns="190800" tIns="936000" rIns="18000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 sz="28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highlight text</a:t>
            </a:r>
          </a:p>
          <a:p>
            <a:pPr lvl="1"/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1126FFE-ACCB-4BFB-9393-B104A3CDC003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8478600" cy="3786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C3061E-84D3-44E8-83E2-B6EFB6BA83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36D2DE89-8CEB-4755-B35D-67D522787553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F57AD-E863-460B-A6C8-926CA64BD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38D47F-C454-4616-B35B-410770E9E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41">
            <a:extLst>
              <a:ext uri="{FF2B5EF4-FFF2-40B4-BE49-F238E27FC236}">
                <a16:creationId xmlns:a16="http://schemas.microsoft.com/office/drawing/2014/main" id="{88531C3B-FC61-40BD-B5A6-C2DECD23C2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57200" y="387000"/>
            <a:ext cx="882000" cy="381600"/>
          </a:xfrm>
          <a:solidFill>
            <a:srgbClr val="D6BB74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23277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: Full Picture and Ico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6061D2-DD90-4428-884C-A041AF247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6476400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3816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white">
          <a:xfrm>
            <a:off x="33372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62928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2"/>
            <a:endParaRPr lang="en-GB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white">
          <a:xfrm>
            <a:off x="92484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56D12F4F-59DA-4F8E-8139-54B98F195844}"/>
              </a:ext>
            </a:extLst>
          </p:cNvPr>
          <p:cNvSpPr>
            <a:spLocks noGrp="1" noChangeAspect="1"/>
          </p:cNvSpPr>
          <p:nvPr>
            <p:ph sz="quarter" idx="31" hasCustomPrompt="1"/>
          </p:nvPr>
        </p:nvSpPr>
        <p:spPr>
          <a:xfrm>
            <a:off x="3816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0C19EADF-D75D-42F9-B93F-7DA40BC7B7D8}"/>
              </a:ext>
            </a:extLst>
          </p:cNvPr>
          <p:cNvSpPr>
            <a:spLocks noGrp="1" noChangeAspect="1"/>
          </p:cNvSpPr>
          <p:nvPr>
            <p:ph sz="quarter" idx="32" hasCustomPrompt="1"/>
          </p:nvPr>
        </p:nvSpPr>
        <p:spPr>
          <a:xfrm>
            <a:off x="33372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630D7618-6CF7-4C05-AC7B-30A23F391BD0}"/>
              </a:ext>
            </a:extLst>
          </p:cNvPr>
          <p:cNvSpPr>
            <a:spLocks noGrp="1" noChangeAspect="1"/>
          </p:cNvSpPr>
          <p:nvPr>
            <p:ph sz="quarter" idx="33" hasCustomPrompt="1"/>
          </p:nvPr>
        </p:nvSpPr>
        <p:spPr>
          <a:xfrm>
            <a:off x="62928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5A2E752A-F32B-483C-9B10-A4ED0125ACA5}"/>
              </a:ext>
            </a:extLst>
          </p:cNvPr>
          <p:cNvSpPr>
            <a:spLocks noGrp="1" noChangeAspect="1"/>
          </p:cNvSpPr>
          <p:nvPr>
            <p:ph sz="quarter" idx="34" hasCustomPrompt="1"/>
          </p:nvPr>
        </p:nvSpPr>
        <p:spPr>
          <a:xfrm>
            <a:off x="92484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7" name="Text Placeholder 37">
            <a:extLst>
              <a:ext uri="{FF2B5EF4-FFF2-40B4-BE49-F238E27FC236}">
                <a16:creationId xmlns:a16="http://schemas.microsoft.com/office/drawing/2014/main" id="{7EC3059A-76AD-439F-83BC-EF67DD173DC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952850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8" name="Text Placeholder 39">
            <a:extLst>
              <a:ext uri="{FF2B5EF4-FFF2-40B4-BE49-F238E27FC236}">
                <a16:creationId xmlns:a16="http://schemas.microsoft.com/office/drawing/2014/main" id="{CC5BA31D-694B-4AF6-903C-5C7CB53A09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12050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9" name="Text Placeholder 41">
            <a:extLst>
              <a:ext uri="{FF2B5EF4-FFF2-40B4-BE49-F238E27FC236}">
                <a16:creationId xmlns:a16="http://schemas.microsoft.com/office/drawing/2014/main" id="{D773BC7E-0105-4D2D-867F-75B853AB8A6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66644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3071784A-C8C9-4629-A5EE-7C32F685602B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836D199-C9CC-4985-AAC1-54E34054D8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8"/>
          </p:nvPr>
        </p:nvSpPr>
        <p:spPr/>
        <p:txBody>
          <a:bodyPr/>
          <a:lstStyle/>
          <a:p>
            <a:fld id="{D57F5D82-E686-4723-B56D-7448602FE56A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8E34CE-AAB8-4029-A91D-00D3DE49ED6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1B49DF-7251-449A-9488-E7C771FC540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391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: Icons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6061D2-DD90-4428-884C-A041AF247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476400" cy="7632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28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84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56D12F4F-59DA-4F8E-8139-54B98F195844}"/>
              </a:ext>
            </a:extLst>
          </p:cNvPr>
          <p:cNvSpPr>
            <a:spLocks noGrp="1" noChangeAspect="1"/>
          </p:cNvSpPr>
          <p:nvPr>
            <p:ph sz="quarter" idx="31" hasCustomPrompt="1"/>
          </p:nvPr>
        </p:nvSpPr>
        <p:spPr>
          <a:xfrm>
            <a:off x="3816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0C19EADF-D75D-42F9-B93F-7DA40BC7B7D8}"/>
              </a:ext>
            </a:extLst>
          </p:cNvPr>
          <p:cNvSpPr>
            <a:spLocks noGrp="1" noChangeAspect="1"/>
          </p:cNvSpPr>
          <p:nvPr>
            <p:ph sz="quarter" idx="32" hasCustomPrompt="1"/>
          </p:nvPr>
        </p:nvSpPr>
        <p:spPr>
          <a:xfrm>
            <a:off x="33372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630D7618-6CF7-4C05-AC7B-30A23F391BD0}"/>
              </a:ext>
            </a:extLst>
          </p:cNvPr>
          <p:cNvSpPr>
            <a:spLocks noGrp="1" noChangeAspect="1"/>
          </p:cNvSpPr>
          <p:nvPr>
            <p:ph sz="quarter" idx="33" hasCustomPrompt="1"/>
          </p:nvPr>
        </p:nvSpPr>
        <p:spPr>
          <a:xfrm>
            <a:off x="62928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5A2E752A-F32B-483C-9B10-A4ED0125ACA5}"/>
              </a:ext>
            </a:extLst>
          </p:cNvPr>
          <p:cNvSpPr>
            <a:spLocks noGrp="1" noChangeAspect="1"/>
          </p:cNvSpPr>
          <p:nvPr>
            <p:ph sz="quarter" idx="34" hasCustomPrompt="1"/>
          </p:nvPr>
        </p:nvSpPr>
        <p:spPr>
          <a:xfrm>
            <a:off x="92484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80266E4F-5E07-4CBC-8BC6-E9581225C539}"/>
              </a:ext>
            </a:extLst>
          </p:cNvPr>
          <p:cNvSpPr txBox="1">
            <a:spLocks/>
          </p:cNvSpPr>
          <p:nvPr userDrawn="1"/>
        </p:nvSpPr>
        <p:spPr>
          <a:xfrm>
            <a:off x="2952850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1" name="Text Placeholder 39">
            <a:extLst>
              <a:ext uri="{FF2B5EF4-FFF2-40B4-BE49-F238E27FC236}">
                <a16:creationId xmlns:a16="http://schemas.microsoft.com/office/drawing/2014/main" id="{D7EA1E37-F1D8-497D-8EFD-017F322C51D8}"/>
              </a:ext>
            </a:extLst>
          </p:cNvPr>
          <p:cNvSpPr txBox="1">
            <a:spLocks/>
          </p:cNvSpPr>
          <p:nvPr userDrawn="1"/>
        </p:nvSpPr>
        <p:spPr>
          <a:xfrm>
            <a:off x="5912050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7FC486CC-9843-4F56-88F5-46F2A706FE92}"/>
              </a:ext>
            </a:extLst>
          </p:cNvPr>
          <p:cNvSpPr txBox="1">
            <a:spLocks/>
          </p:cNvSpPr>
          <p:nvPr userDrawn="1"/>
        </p:nvSpPr>
        <p:spPr>
          <a:xfrm>
            <a:off x="8866644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4C74F71-A43D-4DF2-8D45-3A8B977239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5"/>
          </p:nvPr>
        </p:nvSpPr>
        <p:spPr/>
        <p:txBody>
          <a:bodyPr/>
          <a:lstStyle/>
          <a:p>
            <a:fld id="{DADBBF39-496B-42E8-A85C-F2CF2F2B03A6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826738-3583-4158-B5F1-89195ED5AF34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5F0756-7B06-4068-BDE3-D7AA112EBA32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742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: Two Highlig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762000"/>
            <a:ext cx="5904000" cy="4572000"/>
          </a:xfrm>
          <a:solidFill>
            <a:schemeClr val="bg2"/>
          </a:solidFill>
        </p:spPr>
        <p:txBody>
          <a:bodyPr lIns="381600" tIns="504000" rIns="3816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rgbClr val="1AB09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rgbClr val="1AB092"/>
                </a:solidFill>
              </a:defRPr>
            </a:lvl2pPr>
            <a:lvl3pPr marL="176400" indent="-1764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rgbClr val="1AB092"/>
                </a:solidFill>
              </a:defRPr>
            </a:lvl3pPr>
            <a:lvl4pPr>
              <a:defRPr>
                <a:solidFill>
                  <a:srgbClr val="1AB092"/>
                </a:solidFill>
              </a:defRPr>
            </a:lvl4pPr>
            <a:lvl5pPr>
              <a:defRPr>
                <a:solidFill>
                  <a:srgbClr val="1AB092"/>
                </a:solidFill>
              </a:defRPr>
            </a:lvl5pPr>
            <a:lvl6pPr>
              <a:buClrTx/>
              <a:defRPr>
                <a:solidFill>
                  <a:srgbClr val="1AB092"/>
                </a:solidFill>
              </a:defRPr>
            </a:lvl6pPr>
            <a:lvl7pPr>
              <a:defRPr>
                <a:solidFill>
                  <a:srgbClr val="1AB092"/>
                </a:solidFill>
              </a:defRPr>
            </a:lvl7pPr>
            <a:lvl8pPr>
              <a:defRPr>
                <a:solidFill>
                  <a:srgbClr val="1AB092"/>
                </a:solidFill>
              </a:defRPr>
            </a:lvl8pPr>
            <a:lvl9pPr>
              <a:defRPr>
                <a:solidFill>
                  <a:srgbClr val="1AB092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8002" y="762000"/>
            <a:ext cx="5903998" cy="4572000"/>
          </a:xfrm>
          <a:solidFill>
            <a:srgbClr val="1AB092"/>
          </a:solidFill>
        </p:spPr>
        <p:txBody>
          <a:bodyPr lIns="381600" tIns="504000" rIns="3816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 marL="176400" indent="-1764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E30B257-F253-48E2-BAA5-AE42C03EEC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E450BB24-61A4-4B27-A405-4951E00243E9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ED9260-72F7-46AA-A063-9046FFEB90D0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C4232-A4EB-4B4B-A01A-DFF8B89AA5E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09A96D73-B184-BC87-9F2F-F79BAFFF77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49200" y="559128"/>
            <a:ext cx="882000" cy="381600"/>
          </a:xfrm>
          <a:solidFill>
            <a:srgbClr val="45A6DE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5264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: Four Highlig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28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8400" y="762000"/>
            <a:ext cx="2570400" cy="4572000"/>
          </a:xfrm>
          <a:solidFill>
            <a:schemeClr val="accent4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bg1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9F290E1F-8C2A-49EC-BE37-43B747F88FA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57200" y="559128"/>
            <a:ext cx="882000" cy="381600"/>
          </a:xfrm>
          <a:solidFill>
            <a:srgbClr val="FF7768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2BB9F23-ED93-4E96-B8D1-B6BC81B43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DA6112F1-CE46-4D74-89A9-DB0DDDBCB1EB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D14C74-CB1E-4B5A-96B5-AE6E551A5F20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E2D26-F347-4FBC-BEFA-510D138078B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73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EC7DD8DC-D2A8-999B-ECEE-43F5022F3E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8181AF-B3B9-43B7-8BC8-4EE7E38ED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095400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ADA2BB-9129-4650-A933-7952E1110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412" y="1524000"/>
            <a:ext cx="6097587" cy="34290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Aft>
                <a:spcPts val="1200"/>
              </a:spcAft>
              <a:buNone/>
              <a:defRPr sz="2000"/>
            </a:lvl2pPr>
            <a:lvl3pPr marL="0" indent="0">
              <a:spcAft>
                <a:spcPts val="12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1200"/>
              </a:spcAft>
              <a:defRPr sz="2000" b="0"/>
            </a:lvl4pPr>
            <a:lvl5pPr marL="0" indent="0">
              <a:spcAft>
                <a:spcPts val="1200"/>
              </a:spcAft>
              <a:defRPr sz="2000"/>
            </a:lvl5pPr>
          </a:lstStyle>
          <a:p>
            <a:pPr lvl="0"/>
            <a:r>
              <a:rPr lang="en-GB"/>
              <a:t>Click to add quotation</a:t>
            </a:r>
          </a:p>
          <a:p>
            <a:pPr lvl="0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AFB780-5F0C-4980-958A-84441C19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2" y="4953000"/>
            <a:ext cx="6097588" cy="762000"/>
          </a:xfrm>
        </p:spPr>
        <p:txBody>
          <a:bodyPr rIns="360000" anchor="b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Name                                                                                                                          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AB82F2F-7F96-4576-B310-91B85BB2E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91FC031-FF4D-464D-A4CB-449B9E2FA7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E9B21771-7956-437D-B3A8-E4A6C4C0E41E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B09817-AE8A-4475-B9AB-93C73811DF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429000" y="6096000"/>
            <a:ext cx="8001000" cy="38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E2F6E-9150-46FD-BA41-2883039131F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1396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">
    <p:bg>
      <p:bgPr>
        <a:solidFill>
          <a:srgbClr val="D200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78205054-25B7-4003-94EA-98F762DF9F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5A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ADA2BB-9129-4650-A933-7952E1110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79412" y="381000"/>
            <a:ext cx="6097587" cy="4572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000">
                <a:solidFill>
                  <a:srgbClr val="EBEA79"/>
                </a:solidFill>
              </a:defRPr>
            </a:lvl1pPr>
            <a:lvl2pPr marL="0" indent="0">
              <a:spcAft>
                <a:spcPts val="1200"/>
              </a:spcAft>
              <a:buNone/>
              <a:defRPr sz="2000"/>
            </a:lvl2pPr>
            <a:lvl3pPr marL="0" indent="0">
              <a:spcAft>
                <a:spcPts val="12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1200"/>
              </a:spcAft>
              <a:defRPr sz="2000" b="0"/>
            </a:lvl4pPr>
            <a:lvl5pPr marL="0" indent="0">
              <a:spcAft>
                <a:spcPts val="1200"/>
              </a:spcAft>
              <a:defRPr sz="2000"/>
            </a:lvl5pPr>
          </a:lstStyle>
          <a:p>
            <a:pPr lvl="0"/>
            <a:r>
              <a:rPr lang="en-GB"/>
              <a:t>Click to add quot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AFB780-5F0C-4980-958A-84441C19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79412" y="4953000"/>
            <a:ext cx="6097588" cy="762000"/>
          </a:xfrm>
        </p:spPr>
        <p:txBody>
          <a:bodyPr rIns="360000" anchor="b" anchorCtr="0"/>
          <a:lstStyle>
            <a:lvl1pPr marL="0" indent="0">
              <a:buNone/>
              <a:defRPr sz="1200">
                <a:solidFill>
                  <a:srgbClr val="EBEA79"/>
                </a:solidFill>
              </a:defRPr>
            </a:lvl1pPr>
          </a:lstStyle>
          <a:p>
            <a:pPr lvl="0"/>
            <a:r>
              <a:rPr lang="en-GB"/>
              <a:t>Click to add Name                                                                                                                           Title</a:t>
            </a: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A99850C1-0DB1-44D5-9BBA-8BD432A2F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DB0747E-46FD-4CF2-9DD2-7060C5EF37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23726F1E-0379-4960-8FD9-DE677002DA64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273628-79C9-4C40-91B8-A68FBA247A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416300" y="6096000"/>
            <a:ext cx="80137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4CE7D8-A5E3-40C0-91F0-24A8111888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231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">
    <p:bg>
      <p:bgPr>
        <a:solidFill>
          <a:srgbClr val="D200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9F79E0AF-53B2-490A-B9FC-BA1E0D0978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72902F1C-AC43-4F39-A384-292D87EBF4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88CEFD-30ED-4622-96F2-492E3A38E7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6095400" cy="3429000"/>
          </a:xfrm>
        </p:spPr>
        <p:txBody>
          <a:bodyPr/>
          <a:lstStyle>
            <a:lvl1pPr>
              <a:lnSpc>
                <a:spcPct val="9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76B8B0-E174-426B-971A-ED268A4995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413" y="3810001"/>
            <a:ext cx="3811587" cy="1905000"/>
          </a:xfrm>
        </p:spPr>
        <p:txBody>
          <a:bodyPr anchor="b" anchorCtr="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1pPr>
            <a:lvl2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2pPr>
            <a:lvl3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3pPr>
            <a:lvl4pPr>
              <a:spcBef>
                <a:spcPts val="0"/>
              </a:spcBef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  <a:lvl6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6pPr>
            <a:lvl7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7pPr>
            <a:lvl8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8pPr>
            <a:lvl9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9pPr>
          </a:lstStyle>
          <a:p>
            <a:pPr lvl="0"/>
            <a:r>
              <a:rPr lang="en-GB"/>
              <a:t>Click to add Company name in bold and address in regular typ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6ED06A3-2C86-406B-92E5-266056A66A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9"/>
          </p:nvPr>
        </p:nvSpPr>
        <p:spPr/>
        <p:txBody>
          <a:bodyPr/>
          <a:lstStyle/>
          <a:p>
            <a:fld id="{7F295FD2-DD6F-473A-B11C-01B46CC76324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24975-5628-48DC-84D7-473CD96D0D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8D5B7E-8D98-4BD4-82A4-24F9112DBB3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121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9D909-49D5-40E7-8A46-904F421801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FF0797-A966-40B5-8E81-0CC45FE6AE99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270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78EA26B1-FC6D-4CA6-9A27-CF078707DD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FDF67A92-BB23-4B29-B743-0BAF0A383524}" type="datetime4">
              <a:rPr lang="en-US" smtClean="0"/>
              <a:t>March 18,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625BD2D-2C9E-4524-8D8C-056A6E4F9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ADA5701-D12F-4F62-9DC9-144B5ED66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07EE3D12-0A24-4095-B3CA-1460F9D67C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2CC206B8-A886-4A58-AA97-4A7F37F0D37D}" type="datetime4">
              <a:rPr lang="en-US" smtClean="0"/>
              <a:t>March 18, 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036BFD-3EFB-4645-8D5B-898965DE8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E0F2C2-3EA8-4C28-9ED1-DDCDDCE54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93D7B4-707F-46FE-83CC-145D0D59C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621200" cy="7632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1905000"/>
            <a:ext cx="7621201" cy="3810000"/>
          </a:xfrm>
        </p:spPr>
        <p:txBody>
          <a:bodyPr/>
          <a:lstStyle>
            <a:lvl1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1pPr>
            <a:lvl2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2pPr>
            <a:lvl3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3pPr>
            <a:lvl4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4pPr>
            <a:lvl5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5pPr>
            <a:lvl6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6pPr>
            <a:lvl7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7pPr>
            <a:lvl8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8pPr>
            <a:lvl9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8953B997-0B16-489F-ACA8-DAD249A49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FF831B46-D58A-4881-B775-9FC571409717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33B0804-D947-47C7-B304-852B83B01A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3D7A2E0-B3AA-40EC-B448-A573DCB5D80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0737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379413" y="385846"/>
            <a:ext cx="11050587" cy="75715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9413" y="1524000"/>
            <a:ext cx="2448000" cy="3801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witch from one level to the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</a:t>
            </a:r>
            <a:b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slide layouts</a:t>
            </a:r>
            <a:endParaRPr lang="en-GB" sz="90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21830" y="1524000"/>
            <a:ext cx="2448000" cy="272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63000" y="1524000"/>
            <a:ext cx="2448000" cy="480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>
                <a:solidFill>
                  <a:srgbClr val="333333"/>
                </a:solidFill>
                <a:effectLst/>
                <a:latin typeface="Arial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68744" y="4864619"/>
            <a:ext cx="475428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6371" y="1807038"/>
            <a:ext cx="341204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668744" y="4053549"/>
            <a:ext cx="328881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72411" y="3272864"/>
            <a:ext cx="53846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32515" y="2525518"/>
            <a:ext cx="313788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04123" y="2061746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39836735-BCC2-4E5A-B032-D47822058982}" type="datetime4">
              <a:rPr lang="en-US" smtClean="0"/>
              <a:t>March 18, 2025</a:t>
            </a:fld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630227" y="2717408"/>
            <a:ext cx="457143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2F85F92-DA8D-4F17-B8F6-156ECCEFB1E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9379" y="1531396"/>
            <a:ext cx="1678731" cy="110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977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</a:rPr>
              <a:t>If you see any </a:t>
            </a:r>
            <a:r>
              <a:rPr lang="en-GB" sz="4400" b="1" i="0" noProof="0">
                <a:solidFill>
                  <a:schemeClr val="bg1"/>
                </a:solidFill>
              </a:rPr>
              <a:t>layouts after this one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>
                <a:solidFill>
                  <a:schemeClr val="bg1"/>
                </a:solidFill>
              </a:rPr>
              <a:t>are not </a:t>
            </a:r>
            <a:br>
              <a:rPr lang="en-GB" sz="4400" b="1" i="0" u="none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en-GB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0" b="1" i="0" noProof="0">
                <a:solidFill>
                  <a:schemeClr val="bg1"/>
                </a:solidFill>
              </a:rPr>
              <a:t>Do not use </a:t>
            </a:r>
            <a:endParaRPr lang="en-GB" sz="14000" b="1" i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en-GB" sz="180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BDF906-CE83-4409-9421-5E47EE8F99A6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6">
            <a:extLst>
              <a:ext uri="{FF2B5EF4-FFF2-40B4-BE49-F238E27FC236}">
                <a16:creationId xmlns:a16="http://schemas.microsoft.com/office/drawing/2014/main" id="{79DD5576-2CAE-1B44-ACCD-D58D1250A6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01883" y="6508251"/>
            <a:ext cx="5370117" cy="1046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>
                <a:sym typeface="Symbol" panose="05050102010706020507" pitchFamily="18" charset="2"/>
              </a:rPr>
              <a:t>How to get to big scale renovations |  20 March 2025  |   ROCKWOOL A/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309803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Logo">
            <a:extLst>
              <a:ext uri="{FF2B5EF4-FFF2-40B4-BE49-F238E27FC236}">
                <a16:creationId xmlns:a16="http://schemas.microsoft.com/office/drawing/2014/main" id="{9D8D5127-1EE9-4765-998C-48F732354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2004" y="5333890"/>
            <a:ext cx="4169190" cy="762110"/>
          </a:xfrm>
          <a:prstGeom prst="rect">
            <a:avLst/>
          </a:prstGeom>
        </p:spPr>
      </p:pic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3340FD-F5D0-4C67-974A-98C2C22696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3200" cy="4572000"/>
          </a:xfrm>
          <a:solidFill>
            <a:schemeClr val="bg2"/>
          </a:solidFill>
        </p:spPr>
        <p:txBody>
          <a:bodyPr tIns="7200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en-GB"/>
              <a:t>Click on frame and insert picture from the Templafy pane</a:t>
            </a:r>
          </a:p>
        </p:txBody>
      </p:sp>
      <p:sp>
        <p:nvSpPr>
          <p:cNvPr id="3" name="Transperancy 2"/>
          <p:cNvSpPr>
            <a:spLocks noGrp="1"/>
          </p:cNvSpPr>
          <p:nvPr>
            <p:ph type="subTitle" idx="1" hasCustomPrompt="1"/>
          </p:nvPr>
        </p:nvSpPr>
        <p:spPr>
          <a:xfrm>
            <a:off x="7621200" y="4381200"/>
            <a:ext cx="1904400" cy="381600"/>
          </a:xfrm>
          <a:solidFill>
            <a:schemeClr val="accent1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000" y="767307"/>
            <a:ext cx="6849000" cy="1342799"/>
          </a:xfrm>
        </p:spPr>
        <p:txBody>
          <a:bodyPr anchor="b"/>
          <a:lstStyle>
            <a:lvl1pPr algn="l">
              <a:lnSpc>
                <a:spcPct val="8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95BFA8-2E20-48BF-1DBF-F3A2E9453F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1000" y="2163046"/>
            <a:ext cx="6849000" cy="51235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in one lin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715000" y="5710826"/>
            <a:ext cx="5709900" cy="372601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>
                <a:solidFill>
                  <a:schemeClr val="tx1"/>
                </a:solidFill>
              </a:defRPr>
            </a:lvl1pPr>
          </a:lstStyle>
          <a:p>
            <a:fld id="{73268546-EF0F-4502-B72E-44ECA2091D4A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9260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F0F45F8-DFED-33AA-CAE9-44A740A46DFC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5" name="Logo neg">
            <a:extLst>
              <a:ext uri="{FF2B5EF4-FFF2-40B4-BE49-F238E27FC236}">
                <a16:creationId xmlns:a16="http://schemas.microsoft.com/office/drawing/2014/main" id="{6C611107-C60C-B2BA-08D1-3FD890AE10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1993" y="5333890"/>
            <a:ext cx="4169201" cy="7621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1000" y="767307"/>
            <a:ext cx="6849000" cy="1342799"/>
          </a:xfrm>
        </p:spPr>
        <p:txBody>
          <a:bodyPr anchor="b"/>
          <a:lstStyle>
            <a:lvl1pPr algn="l">
              <a:lnSpc>
                <a:spcPct val="85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E95BFA8-2E20-48BF-1DBF-F3A2E9453F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1000" y="2163046"/>
            <a:ext cx="6849000" cy="512354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rgbClr val="FF7768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in one lin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715000" y="5710826"/>
            <a:ext cx="5709900" cy="372601"/>
          </a:xfrm>
        </p:spPr>
        <p:txBody>
          <a:bodyPr anchor="b" anchorCtr="0"/>
          <a:lstStyle>
            <a:lvl1pPr algn="r">
              <a:lnSpc>
                <a:spcPct val="90000"/>
              </a:lnSpc>
              <a:defRPr sz="1400">
                <a:solidFill>
                  <a:srgbClr val="FF7768"/>
                </a:solidFill>
              </a:defRPr>
            </a:lvl1pPr>
          </a:lstStyle>
          <a:p>
            <a:fld id="{BD67B426-4C80-46BD-825C-9FC4E180479C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>
            <a:lvl1pPr>
              <a:defRPr>
                <a:solidFill>
                  <a:srgbClr val="FF7768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6328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Logo">
            <a:extLst>
              <a:ext uri="{FF2B5EF4-FFF2-40B4-BE49-F238E27FC236}">
                <a16:creationId xmlns:a16="http://schemas.microsoft.com/office/drawing/2014/main" id="{9D8D5127-1EE9-4765-998C-48F732354B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762004" y="5333890"/>
            <a:ext cx="4169190" cy="762110"/>
          </a:xfrm>
          <a:prstGeom prst="rect">
            <a:avLst/>
          </a:prstGeom>
        </p:spPr>
      </p:pic>
      <p:sp>
        <p:nvSpPr>
          <p:cNvPr id="20" name="Picture Placeholder 5">
            <a:extLst>
              <a:ext uri="{FF2B5EF4-FFF2-40B4-BE49-F238E27FC236}">
                <a16:creationId xmlns:a16="http://schemas.microsoft.com/office/drawing/2014/main" id="{8E3340FD-F5D0-4C67-974A-98C2C226969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761999"/>
            <a:ext cx="6858000" cy="3810001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GB"/>
              <a:t>Click on frame and insert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41200" y="763200"/>
            <a:ext cx="3988800" cy="2394000"/>
          </a:xfrm>
        </p:spPr>
        <p:txBody>
          <a:bodyPr anchor="b"/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6" name="Date Placeholder 6">
            <a:extLst>
              <a:ext uri="{FF2B5EF4-FFF2-40B4-BE49-F238E27FC236}">
                <a16:creationId xmlns:a16="http://schemas.microsoft.com/office/drawing/2014/main" id="{62A93878-C721-4825-BEB8-0871BA6D117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436100" y="3437399"/>
            <a:ext cx="3988800" cy="372601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1600">
                <a:solidFill>
                  <a:schemeClr val="tx1"/>
                </a:solidFill>
              </a:defRPr>
            </a:lvl1pPr>
          </a:lstStyle>
          <a:p>
            <a:fld id="{8D2BBABB-613E-4524-9D80-1718D75E3B6D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B004F74-29AB-48A3-86D9-6C4F9224439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715000" y="6094200"/>
            <a:ext cx="5715000" cy="3822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7" name="Slide Number Placeholder 10" hidden="1">
            <a:extLst>
              <a:ext uri="{FF2B5EF4-FFF2-40B4-BE49-F238E27FC236}">
                <a16:creationId xmlns:a16="http://schemas.microsoft.com/office/drawing/2014/main" id="{6A02CA19-6F8F-4C44-BFC9-1CB61A10B1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ransperancy 2"/>
          <p:cNvSpPr>
            <a:spLocks noGrp="1"/>
          </p:cNvSpPr>
          <p:nvPr>
            <p:ph type="subTitle" idx="1" hasCustomPrompt="1"/>
          </p:nvPr>
        </p:nvSpPr>
        <p:spPr>
          <a:xfrm>
            <a:off x="5335200" y="572400"/>
            <a:ext cx="1144800" cy="381600"/>
          </a:xfrm>
          <a:solidFill>
            <a:schemeClr val="accent6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93D7B4-707F-46FE-83CC-145D0D59C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621200" cy="7632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" y="1905000"/>
            <a:ext cx="7621201" cy="3810000"/>
          </a:xfrm>
        </p:spPr>
        <p:txBody>
          <a:bodyPr/>
          <a:lstStyle>
            <a:lvl1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1pPr>
            <a:lvl2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2pPr>
            <a:lvl3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3pPr>
            <a:lvl4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4pPr>
            <a:lvl5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5pPr>
            <a:lvl6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6pPr>
            <a:lvl7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7pPr>
            <a:lvl8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8pPr>
            <a:lvl9pPr marL="381600" indent="-3816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Font typeface="+mj-lt"/>
              <a:buAutoNum type="arabicPeriod"/>
              <a:defRPr sz="2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8953B997-0B16-489F-ACA8-DAD249A49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D89FD676-1705-4FDF-92A7-98A3494027EC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33B0804-D947-47C7-B304-852B83B01A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3D7A2E0-B3AA-40EC-B448-A573DCB5D80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0737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8953B997-0B16-489F-ACA8-DAD249A49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AF3E3BB8-0F1B-4558-A35F-E265DE136D45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33B0804-D947-47C7-B304-852B83B01A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3D7A2E0-B3AA-40EC-B448-A573DCB5D80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30000" y="6096000"/>
            <a:ext cx="381000" cy="38040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93D7B4-707F-46FE-83CC-145D0D59C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765018"/>
            <a:ext cx="3175852" cy="763200"/>
          </a:xfrm>
        </p:spPr>
        <p:txBody>
          <a:bodyPr tIns="180000"/>
          <a:lstStyle>
            <a:lvl1pPr algn="r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63B4AD3-7BFC-B5A4-2AF3-0747584611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524000"/>
            <a:ext cx="3175852" cy="152400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9pPr>
          </a:lstStyle>
          <a:p>
            <a:r>
              <a:rPr lang="en-GB"/>
              <a:t>Click to add short description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7200" y="763200"/>
            <a:ext cx="2498400" cy="2480400"/>
          </a:xfrm>
          <a:solidFill>
            <a:schemeClr val="tx2"/>
          </a:solidFill>
        </p:spPr>
        <p:txBody>
          <a:bodyPr lIns="190800" tIns="648000" rIns="190800" bIns="19080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subtitle 1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52AE51-DF4D-7EC1-DF60-58EF0F639A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39900" y="763200"/>
            <a:ext cx="2498400" cy="2480400"/>
          </a:xfrm>
          <a:solidFill>
            <a:srgbClr val="1AB092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9pPr>
          </a:lstStyle>
          <a:p>
            <a:pPr lvl="0"/>
            <a:r>
              <a:rPr lang="en-GB"/>
              <a:t>Click to add subtitle 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CF97AC-DFFC-6DF9-4BCD-C03EA74922C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12600" y="763200"/>
            <a:ext cx="2498400" cy="2480400"/>
          </a:xfrm>
          <a:solidFill>
            <a:srgbClr val="45A6DE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9pPr>
          </a:lstStyle>
          <a:p>
            <a:pPr lvl="0"/>
            <a:r>
              <a:rPr lang="en-GB"/>
              <a:t>Click to add subtitle 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390032-20BE-E07C-4C10-A6FA758865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14000" y="3430800"/>
            <a:ext cx="2498400" cy="2480400"/>
          </a:xfrm>
          <a:solidFill>
            <a:schemeClr val="accent4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7353018-A53E-7BFC-46FE-71E2D0FE9F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0200" y="3430800"/>
            <a:ext cx="2498400" cy="2480400"/>
          </a:xfrm>
          <a:solidFill>
            <a:srgbClr val="FF7768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subtitle 5</a:t>
            </a:r>
            <a:endParaRPr lang="en-GB"/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FCE268F-219E-70ED-E89E-E4F4BFB079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46400" y="3430800"/>
            <a:ext cx="2498400" cy="2480400"/>
          </a:xfrm>
          <a:solidFill>
            <a:srgbClr val="D6BB74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6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1556455-A40C-1E24-4A68-D60DA48C3C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12600" y="3430800"/>
            <a:ext cx="2498400" cy="2480400"/>
          </a:xfrm>
          <a:solidFill>
            <a:srgbClr val="EBEA79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7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9E91F92-5BD4-70F4-1C30-AAE7D62549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72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C6B7414-F3D8-92EA-1D3D-27796B50EB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399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97EA2C16-F031-29B8-05B8-2781E5D47B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126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62EDC30-D7CC-7C73-F430-B123C5C8CC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140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9621CFD-1FEE-95FF-4E77-7EB4224176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02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8DA06936-C42B-BC06-2028-DDCB61077C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464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16920567-7FBF-36D3-A4B6-7F274187F68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3126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1677725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F2AF012-FE34-4392-8935-10039193F7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1144800"/>
            <a:ext cx="2570400" cy="4572000"/>
          </a:xfrm>
          <a:solidFill>
            <a:srgbClr val="63666A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B5CC8F2-0B7B-4CD1-A996-0F319FC4F9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1144800"/>
            <a:ext cx="2570400" cy="45720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A691847-AEA6-4510-9F02-9FE39F38B8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2800" y="1144800"/>
            <a:ext cx="2570400" cy="45720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7769ECC-F273-4117-B7F6-B969229E0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8400" y="1144800"/>
            <a:ext cx="2570400" cy="4572000"/>
          </a:xfrm>
          <a:solidFill>
            <a:srgbClr val="8A8C8F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ransperancy 40">
            <a:extLst>
              <a:ext uri="{FF2B5EF4-FFF2-40B4-BE49-F238E27FC236}">
                <a16:creationId xmlns:a16="http://schemas.microsoft.com/office/drawing/2014/main" id="{05347995-964D-439A-AAC1-596071BD764C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>
            <a:off x="5976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4F1B58-EBDC-44C6-BFF6-36F8A836FD37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3553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AC9EEAF-6547-40FF-B0F3-7D7AF9C57DF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6505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D22EF26-9866-44F6-A194-9221F4369D16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4608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70091B-4D56-4972-AAC0-AA33B2C6D3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D60AA092-2743-440B-805E-B560B02896FF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3CB960-1A10-4954-9F3C-CA05393BCD6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25C135-3CD0-4F8C-8F43-62DFA18285D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28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F2AF012-FE34-4392-8935-10039193F7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1144800"/>
            <a:ext cx="2570400" cy="2095200"/>
          </a:xfrm>
          <a:solidFill>
            <a:schemeClr val="accent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B5CC8F2-0B7B-4CD1-A996-0F319FC4F9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1144800"/>
            <a:ext cx="2570400" cy="20952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A691847-AEA6-4510-9F02-9FE39F38B8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2800" y="1144800"/>
            <a:ext cx="2570400" cy="20952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7769ECC-F273-4117-B7F6-B969229E0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8400" y="1144800"/>
            <a:ext cx="2570400" cy="2095200"/>
          </a:xfrm>
          <a:solidFill>
            <a:srgbClr val="8A8C8F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2A97770-4060-47D4-8C33-AB51708527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600" y="3621050"/>
            <a:ext cx="2570400" cy="2095200"/>
          </a:xfrm>
          <a:solidFill>
            <a:schemeClr val="accent4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DA10066-E018-4DFD-AE07-561D2D623B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7200" y="3621050"/>
            <a:ext cx="2570400" cy="20952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0DE4F06-B2A3-41C2-B14D-C31E659AF9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2800" y="3621050"/>
            <a:ext cx="2570400" cy="2095200"/>
          </a:xfrm>
          <a:solidFill>
            <a:schemeClr val="accent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8873C99-965C-4D53-9D31-10EB06917B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48400" y="3621050"/>
            <a:ext cx="2570400" cy="20952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ransperancy 40">
            <a:extLst>
              <a:ext uri="{FF2B5EF4-FFF2-40B4-BE49-F238E27FC236}">
                <a16:creationId xmlns:a16="http://schemas.microsoft.com/office/drawing/2014/main" id="{05347995-964D-439A-AAC1-596071BD764C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>
            <a:off x="5976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4F1B58-EBDC-44C6-BFF6-36F8A836FD37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3553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AC9EEAF-6547-40FF-B0F3-7D7AF9C57DF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6505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D22EF26-9866-44F6-A194-9221F4369D16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4608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C77C345-CF1C-40D5-976F-2802D198BA90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5976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49716DB-00EE-42C8-8F09-7DF035549B88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35532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55D124B-168C-4B45-BCBA-C1A95B665406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>
            <a:off x="65052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EEE74D1D-1CCA-4FE1-8F10-5378DB656F8D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>
            <a:off x="94608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4478E59-B938-4C0E-848E-0D68B2CFA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E26AE679-F986-4981-888F-0EE1BE81C9A3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69A60-B86B-4D6D-AFE8-622300C2645E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ACCF73-1922-4168-96DB-3D6B56F773D8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9155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8953B997-0B16-489F-ACA8-DAD249A495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8"/>
          </p:nvPr>
        </p:nvSpPr>
        <p:spPr/>
        <p:txBody>
          <a:bodyPr/>
          <a:lstStyle/>
          <a:p>
            <a:fld id="{E924FF84-9A3E-46ED-9FFF-F078D74EFF1E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B33B0804-D947-47C7-B304-852B83B01A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3D7A2E0-B3AA-40EC-B448-A573DCB5D80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1430000" y="6096000"/>
            <a:ext cx="381000" cy="380400"/>
          </a:xfrm>
        </p:spPr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593D7B4-707F-46FE-83CC-145D0D59C1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765018"/>
            <a:ext cx="3175852" cy="763200"/>
          </a:xfrm>
        </p:spPr>
        <p:txBody>
          <a:bodyPr tIns="180000"/>
          <a:lstStyle>
            <a:lvl1pPr algn="r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863B4AD3-7BFC-B5A4-2AF3-0747584611E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1600" y="1524000"/>
            <a:ext cx="3175852" cy="1524000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 b="0">
                <a:solidFill>
                  <a:schemeClr val="accent1"/>
                </a:solidFill>
              </a:defRPr>
            </a:lvl9pPr>
          </a:lstStyle>
          <a:p>
            <a:r>
              <a:rPr lang="en-GB"/>
              <a:t>Click to add short description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967200" y="763200"/>
            <a:ext cx="2498400" cy="2480400"/>
          </a:xfrm>
          <a:solidFill>
            <a:schemeClr val="tx2"/>
          </a:solidFill>
        </p:spPr>
        <p:txBody>
          <a:bodyPr lIns="190800" tIns="648000" rIns="190800" bIns="190800" anchor="b" anchorCtr="0"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subtitle 1</a:t>
            </a:r>
          </a:p>
          <a:p>
            <a:pPr lvl="1"/>
            <a:r>
              <a:rPr lang="en-GB" noProof="0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52AE51-DF4D-7EC1-DF60-58EF0F639A9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39900" y="763200"/>
            <a:ext cx="2498400" cy="2480400"/>
          </a:xfrm>
          <a:solidFill>
            <a:srgbClr val="1AB092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/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9pPr>
          </a:lstStyle>
          <a:p>
            <a:pPr lvl="0"/>
            <a:r>
              <a:rPr lang="en-GB"/>
              <a:t>Click to add subtitle 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CF97AC-DFFC-6DF9-4BCD-C03EA74922C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12600" y="763200"/>
            <a:ext cx="2498400" cy="2480400"/>
          </a:xfrm>
          <a:solidFill>
            <a:srgbClr val="45A6DE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/>
            </a:lvl9pPr>
          </a:lstStyle>
          <a:p>
            <a:pPr lvl="0"/>
            <a:r>
              <a:rPr lang="en-GB"/>
              <a:t>Click to add subtitle 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390032-20BE-E07C-4C10-A6FA758865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314000" y="3430800"/>
            <a:ext cx="2498400" cy="2480400"/>
          </a:xfrm>
          <a:solidFill>
            <a:schemeClr val="accent4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7353018-A53E-7BFC-46FE-71E2D0FE9F9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80200" y="3430800"/>
            <a:ext cx="2498400" cy="2480400"/>
          </a:xfrm>
          <a:solidFill>
            <a:srgbClr val="FF7768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subtitle 5</a:t>
            </a:r>
            <a:endParaRPr lang="en-GB"/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FCE268F-219E-70ED-E89E-E4F4BFB079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46400" y="3430800"/>
            <a:ext cx="2498400" cy="2480400"/>
          </a:xfrm>
          <a:solidFill>
            <a:srgbClr val="D6BB74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6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1556455-A40C-1E24-4A68-D60DA48C3C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312600" y="3430800"/>
            <a:ext cx="2498400" cy="2480400"/>
          </a:xfrm>
          <a:solidFill>
            <a:srgbClr val="EBEA79"/>
          </a:solidFill>
        </p:spPr>
        <p:txBody>
          <a:bodyPr lIns="190800" tIns="648000" rIns="190800" bIns="190800" anchor="b" anchorCtr="0"/>
          <a:lstStyle>
            <a:lvl1pPr marL="0" indent="0" algn="r">
              <a:spcAft>
                <a:spcPts val="1200"/>
              </a:spcAft>
              <a:buFont typeface="Arial" panose="020B0604020202020204" pitchFamily="34" charset="0"/>
              <a:buChar char="​"/>
              <a:defRPr sz="20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5pPr>
            <a:lvl6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6pPr>
            <a:lvl7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7pPr>
            <a:lvl8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8pPr>
            <a:lvl9pPr marL="0" indent="0" algn="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title 7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9E91F92-5BD4-70F4-1C30-AAE7D62549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72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C6B7414-F3D8-92EA-1D3D-27796B50EBE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399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97EA2C16-F031-29B8-05B8-2781E5D47B1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312600" y="7632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62EDC30-D7CC-7C73-F430-B123C5C8CC9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140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9621CFD-1FEE-95FF-4E77-7EB4224176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802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8DA06936-C42B-BC06-2028-DDCB61077C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464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16920567-7FBF-36D3-A4B6-7F274187F68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312600" y="3430800"/>
            <a:ext cx="2498400" cy="914400"/>
          </a:xfrm>
        </p:spPr>
        <p:txBody>
          <a:bodyPr lIns="190800" tIns="190800" rIns="19080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1pPr>
            <a:lvl2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2pPr>
            <a:lvl3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3pPr>
            <a:lvl4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4pPr>
            <a:lvl5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5pPr>
            <a:lvl6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6pPr>
            <a:lvl7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7pPr>
            <a:lvl8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8pPr>
            <a:lvl9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44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1677725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-408870" y="0"/>
            <a:ext cx="12193200" cy="6861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rgbClr val="FF7768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183071ED-6315-4808-9077-CBEDFD2055BE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911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9C0E62F7-BE99-4F1B-9529-1588B1F4BC77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113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C 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45A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rgbClr val="EBEA79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2FBA72ED-1E39-434A-A264-BDCC79A2DA65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213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D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FF77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91EF9C0A-3677-4992-8243-5E63A250EFBB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53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34B7184C-CA08-4511-9DD4-E5DE9D189873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chemeClr val="accent4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rgbClr val="FF7768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chemeClr val="accent4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94699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F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A1FE7792-B008-4461-96B8-7D6108363308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chemeClr val="accent2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chemeClr val="accent2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83342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G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7AE5E832-C47E-4ABB-BFF0-E64E0DCE3313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rgbClr val="45A6DE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rgbClr val="EBEA79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rgbClr val="45A6DE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55860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H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1C30C4-4A93-4478-A6E8-49EB1542F4B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DF9FA3D1-B005-4F97-8241-909C647F10B1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68C038-B920-4BAB-B704-1557DC1FDE1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8135DC-1C41-4FBC-B096-11287B559E0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6FFF4778-B559-9CF0-69CC-295518CB5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2" y="6096189"/>
            <a:ext cx="2083266" cy="38081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095200" y="-1"/>
            <a:ext cx="9525000" cy="5716800"/>
          </a:xfrm>
          <a:solidFill>
            <a:srgbClr val="A5A6A8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599" y="1713600"/>
            <a:ext cx="3427200" cy="3427200"/>
          </a:xfrm>
          <a:solidFill>
            <a:srgbClr val="FF7768"/>
          </a:solidFill>
        </p:spPr>
        <p:txBody>
          <a:bodyPr wrap="square" lIns="180000" tIns="180000" rIns="360000" bIns="288000" anchor="b" anchorCtr="0">
            <a:noAutofit/>
          </a:bodyPr>
          <a:lstStyle>
            <a:lvl1pPr algn="r">
              <a:lnSpc>
                <a:spcPct val="85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9" name="Transperancy 2">
            <a:extLst>
              <a:ext uri="{FF2B5EF4-FFF2-40B4-BE49-F238E27FC236}">
                <a16:creationId xmlns:a16="http://schemas.microsoft.com/office/drawing/2014/main" id="{84ECCC0F-A3D7-2A08-B755-FF77ECEC29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430000" y="763200"/>
            <a:ext cx="381600" cy="1141200"/>
          </a:xfrm>
          <a:solidFill>
            <a:srgbClr val="FF7768"/>
          </a:solidFill>
        </p:spPr>
        <p:txBody>
          <a:bodyPr lIns="1800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>
                <a:noFill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4pPr>
            <a:lvl5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0"/>
            </a:lvl7pPr>
            <a:lvl8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600"/>
            </a:lvl8pPr>
            <a:lvl9pPr marL="0" indent="0" algn="l">
              <a:buFont typeface="Arial" panose="020B0604020202020204" pitchFamily="34" charset="0"/>
              <a:buChar char="​"/>
              <a:defRPr sz="1600"/>
            </a:lvl9pPr>
          </a:lstStyle>
          <a:p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74177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                                          Enter &amp; TAB for next text level                      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F8B6A84-557F-4839-9E1B-F59D10B6CF53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51EF448-C440-4309-A480-157552AF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977F9-7224-4562-A843-19461BEF1F55}" type="datetime4">
              <a:rPr lang="en-US" smtClean="0"/>
              <a:t>March 18, 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9F01541-E437-4D01-AC4E-8930032FB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C56B528-45A5-4AF8-B674-4E4AB8F15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no not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6AEB5-52F0-4660-8F42-9D54730AF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                                          Enter &amp; TAB for next text level                      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51EF448-C440-4309-A480-157552AF9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6B601-D3A8-4FD2-B616-901C85878910}" type="datetime4">
              <a:rPr lang="en-US" smtClean="0"/>
              <a:t>March 18, 2025</a:t>
            </a:fld>
            <a:endParaRPr lang="en-GB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9F01541-E437-4D01-AC4E-8930032FBA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C56B528-45A5-4AF8-B674-4E4AB8F15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915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F2AF012-FE34-4392-8935-10039193F7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1144800"/>
            <a:ext cx="2570400" cy="4572000"/>
          </a:xfrm>
          <a:solidFill>
            <a:srgbClr val="63666A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B5CC8F2-0B7B-4CD1-A996-0F319FC4F9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1144800"/>
            <a:ext cx="2570400" cy="45720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A691847-AEA6-4510-9F02-9FE39F38B8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2800" y="1144800"/>
            <a:ext cx="2570400" cy="45720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7769ECC-F273-4117-B7F6-B969229E0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8400" y="1144800"/>
            <a:ext cx="2570400" cy="4572000"/>
          </a:xfrm>
          <a:solidFill>
            <a:srgbClr val="8A8C8F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ransperancy 40">
            <a:extLst>
              <a:ext uri="{FF2B5EF4-FFF2-40B4-BE49-F238E27FC236}">
                <a16:creationId xmlns:a16="http://schemas.microsoft.com/office/drawing/2014/main" id="{05347995-964D-439A-AAC1-596071BD764C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>
            <a:off x="5976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4F1B58-EBDC-44C6-BFF6-36F8A836FD37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3553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AC9EEAF-6547-40FF-B0F3-7D7AF9C57DF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6505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D22EF26-9866-44F6-A194-9221F4369D16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4608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2pPr>
            <a:lvl3pPr marL="360000" indent="0"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3pPr>
            <a:lvl4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4pPr>
            <a:lvl5pPr algn="l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70091B-4D56-4972-AAC0-AA33B2C6D31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C98AB500-BCAC-4E1A-8326-885EC6A3D2DA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3CB960-1A10-4954-9F3C-CA05393BCD6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25C135-3CD0-4F8C-8F43-62DFA18285D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2281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7CF41-4700-4C0D-801F-1B8DD72ED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85000" y="1524000"/>
            <a:ext cx="5526000" cy="41910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B18CCCB-46D5-418C-A012-93DB5C34446D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F8B7E-C2D4-46D2-A1C6-44A7FD3C9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63F1D-E2CA-4CBA-85CA-B9BAB30CE455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E5208D-2A22-4845-85FB-24466F775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618AB4-B1C5-4873-891C-D47012FD0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9268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85600" y="1522800"/>
            <a:ext cx="5526000" cy="4190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8EB7FAD-CB58-4151-92BB-E1EFD6064F15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5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83F0DE5-7741-4DF1-9992-79291A661672}" type="datetime4">
              <a:rPr lang="en-US" smtClean="0"/>
              <a:t>March 18,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How to get to big scale renovations |  20 March 2025  |   ROCKWOOL A/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9413" y="1522800"/>
            <a:ext cx="5526000" cy="4190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284400" y="1524000"/>
            <a:ext cx="55260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Enter &amp; TAB for next text level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D8EB7FAD-CB58-4151-92BB-E1EFD6064F15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7D30B06-03F4-49D9-B1E9-9E3DA70D9F6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EED1232-D167-4429-9AF7-856B66BA3D42}" type="datetime4">
              <a:rPr lang="en-US" smtClean="0"/>
              <a:t>March 18, 2025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F1BCBFD-C165-48EE-9261-525C33DD004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How to get to big scale renovations |  20 March 2025  |   ROCKWOOL A/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B9F243-CCE4-41C0-8963-739854D56F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0979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755F7-DF62-4241-A15D-BE596D2B6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897BD33-3C11-4D04-BB04-3353B3113F39}"/>
              </a:ext>
            </a:extLst>
          </p:cNvPr>
          <p:cNvSpPr>
            <a:spLocks noGrp="1"/>
          </p:cNvSpPr>
          <p:nvPr>
            <p:ph type="subTitle" idx="43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CF8D6C-4EF3-4616-9C0F-8FAC8E079E06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4502E2BA-99AF-43FF-91C0-44A2C73F57C2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F5A4F-0E64-45B4-9286-853A772427F3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D74C2-9815-410D-9AA8-E8AE79B5049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5885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0755F7-DF62-4241-A15D-BE596D2B6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19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01000" y="2667000"/>
            <a:ext cx="3429000" cy="3047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9897BD33-3C11-4D04-BB04-3353B3113F39}"/>
              </a:ext>
            </a:extLst>
          </p:cNvPr>
          <p:cNvSpPr>
            <a:spLocks noGrp="1"/>
          </p:cNvSpPr>
          <p:nvPr>
            <p:ph type="subTitle" idx="43" hasCustomPrompt="1"/>
          </p:nvPr>
        </p:nvSpPr>
        <p:spPr>
          <a:xfrm>
            <a:off x="381000" y="5716800"/>
            <a:ext cx="11429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CF8D6C-4EF3-4616-9C0F-8FAC8E079E06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3FC0D7B6-E961-4E75-924C-55A8FA7607D6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7F5A4F-0E64-45B4-9286-853A772427F3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D74C2-9815-410D-9AA8-E8AE79B5049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9E8AF22-E690-0ECA-0995-B74E16D7442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81000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5CAD66A-D138-6C1A-9C9F-97BAB13D67B5}"/>
              </a:ext>
            </a:extLst>
          </p:cNvPr>
          <p:cNvCxnSpPr/>
          <p:nvPr userDrawn="1"/>
        </p:nvCxnSpPr>
        <p:spPr>
          <a:xfrm>
            <a:off x="3810000" y="1143000"/>
            <a:ext cx="0" cy="4572000"/>
          </a:xfrm>
          <a:prstGeom prst="line">
            <a:avLst/>
          </a:prstGeom>
          <a:ln w="19050">
            <a:solidFill>
              <a:srgbClr val="B1B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74DDF7A-D1A6-9F06-229F-F677CCE34CD1}"/>
              </a:ext>
            </a:extLst>
          </p:cNvPr>
          <p:cNvCxnSpPr/>
          <p:nvPr userDrawn="1"/>
        </p:nvCxnSpPr>
        <p:spPr>
          <a:xfrm>
            <a:off x="7626000" y="1143000"/>
            <a:ext cx="0" cy="4572000"/>
          </a:xfrm>
          <a:prstGeom prst="line">
            <a:avLst/>
          </a:prstGeom>
          <a:ln w="19050">
            <a:solidFill>
              <a:srgbClr val="B1B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8FB1B65-4A12-49EC-22DF-CCC2726DB7F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196999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533A5C19-E9B6-2DB6-045B-F65F9565323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12998" y="1524000"/>
            <a:ext cx="763200" cy="7632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6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0185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 Back- ground Picture 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0" tIns="72000" rIns="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486A750-B97D-4993-BCB3-7C5DB5E4B85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E29E3-649D-4719-A4B5-0002DF680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7238400" cy="763200"/>
          </a:xfrm>
        </p:spPr>
        <p:txBody>
          <a:bodyPr r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96C5512-9FC7-3B49-FA40-E08FD6A141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EFEC2EA-A13B-DD65-16D5-AC7424BE33B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C36F26EA-42FF-FDBC-BA1C-51857A8C829D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buClrTx/>
              <a:defRPr/>
            </a:lvl1pPr>
            <a:lvl2pPr>
              <a:buClrTx/>
              <a:defRPr/>
            </a:lvl2pPr>
            <a:lvl5pPr>
              <a:defRPr/>
            </a:lvl5pPr>
            <a:lvl6pPr>
              <a:buClrTx/>
              <a:defRPr/>
            </a:lvl6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17DE37C-EAFB-4E63-9A46-E1F2BC44AB7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0EC08C01-5C82-453F-A4F3-0BFA4EBF3134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CCE4475-6D07-4E7D-9CD6-492950DBB11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D8F405-6DC4-4C9C-B103-557154FD7F9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1983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on Back- ground Picture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lIns="0" tIns="72000" rIns="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light background picture from the Templafy pan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486A750-B97D-4993-BCB3-7C5DB5E4B851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E29E3-649D-4719-A4B5-0002DF680F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84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10C7EFD-C8DB-F998-1DCC-E0C9A77B1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881817D-60AB-1AA4-FFB7-B6ABE9A22A8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176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A6A9BC1F-0572-63E3-91BC-F94739C198F0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>
          <a:xfrm>
            <a:off x="8254200" y="1524000"/>
            <a:ext cx="3556800" cy="4190400"/>
          </a:xfrm>
        </p:spPr>
        <p:txBody>
          <a:bodyPr rIns="18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Enter &amp; TAB for next text level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6740E22-722A-4868-91BF-82EF5C5786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4"/>
          </p:nvPr>
        </p:nvSpPr>
        <p:spPr/>
        <p:txBody>
          <a:bodyPr/>
          <a:lstStyle/>
          <a:p>
            <a:fld id="{EFF2CCF0-BF35-4C21-8E51-B004F92C9C2F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6F3ABB-AE28-4A16-8D9D-42F57FB8016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9CC896-A008-4277-9E8B-A1281FAC431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198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571440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7168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1200" y="381000"/>
            <a:ext cx="4572000" cy="5333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57144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196CFA88-BC69-498C-99FD-88E6867F98ED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30400" y="1522800"/>
            <a:ext cx="381600" cy="11448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06172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381000"/>
            <a:ext cx="6854521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68574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21200" y="0"/>
            <a:ext cx="4572000" cy="57144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68580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277433EE-8B52-43AB-B15C-F68BB7C9639E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430400" y="3810000"/>
            <a:ext cx="381600" cy="1524000"/>
          </a:xfrm>
          <a:solidFill>
            <a:srgbClr val="1AB092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431019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53000" cy="6096000"/>
          </a:xfrm>
          <a:solidFill>
            <a:schemeClr val="bg2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noProof="0"/>
              <a:t>Click on frame and insert picture from the Templafy pa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0" y="381000"/>
            <a:ext cx="6474120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34160" y="1524000"/>
            <a:ext cx="6476839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Enter &amp; TAB for next text level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5333999" y="5716800"/>
            <a:ext cx="6476999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598307F4-1B09-4AD1-BFEF-42E97C5954B1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ransperancy 40">
            <a:extLst>
              <a:ext uri="{FF2B5EF4-FFF2-40B4-BE49-F238E27FC236}">
                <a16:creationId xmlns:a16="http://schemas.microsoft.com/office/drawing/2014/main" id="{9569B6D0-C77D-4891-A685-2CF5F42E392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61900" y="3810000"/>
            <a:ext cx="381600" cy="1524000"/>
          </a:xfrm>
          <a:solidFill>
            <a:srgbClr val="EBEA79"/>
          </a:solid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10334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B3B4A0-C375-41A6-AA76-9E9EE3A791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7239600" cy="763200"/>
          </a:xfrm>
        </p:spPr>
        <p:txBody>
          <a:bodyPr rIns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Agenda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F2AF012-FE34-4392-8935-10039193F7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1144800"/>
            <a:ext cx="2570400" cy="2095200"/>
          </a:xfrm>
          <a:solidFill>
            <a:schemeClr val="accent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B5CC8F2-0B7B-4CD1-A996-0F319FC4F9D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1144800"/>
            <a:ext cx="2570400" cy="20952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A691847-AEA6-4510-9F02-9FE39F38B8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2800" y="1144800"/>
            <a:ext cx="2570400" cy="20952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7769ECC-F273-4117-B7F6-B969229E0D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8400" y="1144800"/>
            <a:ext cx="2570400" cy="2095200"/>
          </a:xfrm>
          <a:solidFill>
            <a:srgbClr val="8A8C8F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2A97770-4060-47D4-8C33-AB51708527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600" y="3621050"/>
            <a:ext cx="2570400" cy="2095200"/>
          </a:xfrm>
          <a:solidFill>
            <a:schemeClr val="accent4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DA10066-E018-4DFD-AE07-561D2D623BF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7200" y="3621050"/>
            <a:ext cx="2570400" cy="2095200"/>
          </a:xfrm>
          <a:solidFill>
            <a:srgbClr val="1AB09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0DE4F06-B2A3-41C2-B14D-C31E659AF92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2800" y="3621050"/>
            <a:ext cx="2570400" cy="2095200"/>
          </a:xfrm>
          <a:solidFill>
            <a:schemeClr val="accent2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8873C99-965C-4D53-9D31-10EB06917B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48400" y="3621050"/>
            <a:ext cx="2570400" cy="2095200"/>
          </a:xfrm>
          <a:solidFill>
            <a:srgbClr val="45A6DE"/>
          </a:solidFill>
        </p:spPr>
        <p:txBody>
          <a:bodyPr lIns="190800" tIns="648000" rIns="190800" bIns="19080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43" name="Transperancy 40">
            <a:extLst>
              <a:ext uri="{FF2B5EF4-FFF2-40B4-BE49-F238E27FC236}">
                <a16:creationId xmlns:a16="http://schemas.microsoft.com/office/drawing/2014/main" id="{05347995-964D-439A-AAC1-596071BD764C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>
          <a:xfrm>
            <a:off x="5976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C4F1B58-EBDC-44C6-BFF6-36F8A836FD37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3553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AC9EEAF-6547-40FF-B0F3-7D7AF9C57DF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65052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D22EF26-9866-44F6-A194-9221F4369D16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9460800" y="9684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C77C345-CF1C-40D5-976F-2802D198BA90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5976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 algn="l">
              <a:buFontTx/>
              <a:buNone/>
              <a:defRPr sz="600">
                <a:noFill/>
              </a:defRPr>
            </a:lvl2pPr>
            <a:lvl3pPr marL="360000" indent="0" algn="l">
              <a:buFontTx/>
              <a:buNone/>
              <a:defRPr sz="600">
                <a:noFill/>
              </a:defRPr>
            </a:lvl3pPr>
            <a:lvl4pPr algn="l">
              <a:buFontTx/>
              <a:buNone/>
              <a:defRPr sz="600">
                <a:noFill/>
              </a:defRPr>
            </a:lvl4pPr>
            <a:lvl5pPr algn="l"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49716DB-00EE-42C8-8F09-7DF035549B88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35532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955D124B-168C-4B45-BCBA-C1A95B665406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>
          <a:xfrm>
            <a:off x="65052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EEE74D1D-1CCA-4FE1-8F10-5378DB656F8D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>
          <a:xfrm>
            <a:off x="9460800" y="3445200"/>
            <a:ext cx="554400" cy="554400"/>
          </a:xfrm>
          <a:solidFill>
            <a:srgbClr val="D20014"/>
          </a:solidFill>
        </p:spPr>
        <p:txBody>
          <a:bodyPr anchor="ctr" anchorCtr="0"/>
          <a:lstStyle>
            <a:lvl1pPr marL="0" indent="0" algn="ctr">
              <a:spcAft>
                <a:spcPts val="0"/>
              </a:spcAft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X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4478E59-B938-4C0E-848E-0D68B2CFA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0BB54962-68A8-4D01-8538-CAEEA2C0854D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369A60-B86B-4D6D-AFE8-622300C2645E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ACCF73-1922-4168-96DB-3D6B56F773D8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91555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E748F-03E8-47BE-9817-3918159343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381000"/>
            <a:ext cx="11429401" cy="763200"/>
          </a:xfrm>
        </p:spPr>
        <p:txBody>
          <a:bodyPr rIns="0"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1600" y="1524000"/>
            <a:ext cx="5333400" cy="4190400"/>
          </a:xfrm>
        </p:spPr>
        <p:txBody>
          <a:bodyPr rIns="36000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                                                                                                                           Enter &amp; TAB for next text level                                                                                                              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50976F8F-9C19-445D-8B9D-2FC093B74CFC}"/>
              </a:ext>
            </a:extLst>
          </p:cNvPr>
          <p:cNvSpPr>
            <a:spLocks noGrp="1"/>
          </p:cNvSpPr>
          <p:nvPr>
            <p:ph type="subTitle" idx="44" hasCustomPrompt="1"/>
          </p:nvPr>
        </p:nvSpPr>
        <p:spPr>
          <a:xfrm>
            <a:off x="381000" y="5716800"/>
            <a:ext cx="11430000" cy="3774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3B51C-9970-4EE4-8DF4-F7FB58C50A7B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FBBCFD54-3500-4C2A-8CA4-546CAD187550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201AED-E532-45F7-97F6-79253923359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69392-7EE1-4E6C-98C0-DC234D0E7D7E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F72C521-0300-79A6-EF12-51DFDAFAB04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096000" y="1524000"/>
            <a:ext cx="1143000" cy="1143000"/>
          </a:xfrm>
          <a:solidFill>
            <a:srgbClr val="45A6DE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4995E9E-F16F-BE0F-CC43-624C5499C30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239000" y="1524000"/>
            <a:ext cx="4572000" cy="1143000"/>
          </a:xfrm>
          <a:solidFill>
            <a:srgbClr val="D0E9F7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3DA0D17A-DB76-3595-3B87-468856574A3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6000" y="2857500"/>
            <a:ext cx="1143000" cy="1143000"/>
          </a:xfrm>
          <a:solidFill>
            <a:srgbClr val="FF7768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46E97E28-6DD1-4320-C56D-75B068252C3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39000" y="2857500"/>
            <a:ext cx="4572000" cy="1143000"/>
          </a:xfrm>
          <a:solidFill>
            <a:srgbClr val="FFDDD9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4861D42-9ECF-8E1D-1EB0-BE52188C9D70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95400" y="4191000"/>
            <a:ext cx="1143000" cy="1143000"/>
          </a:xfrm>
          <a:solidFill>
            <a:srgbClr val="D6BB74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6000" b="1"/>
            </a:lvl9pPr>
          </a:lstStyle>
          <a:p>
            <a:pPr lvl="0"/>
            <a:r>
              <a:rPr lang="en-US"/>
              <a:t>X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BA3FAAEF-EB9D-D65E-ED63-7AAD8A1D785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238400" y="4191000"/>
            <a:ext cx="4572000" cy="1143000"/>
          </a:xfrm>
          <a:solidFill>
            <a:srgbClr val="F5EEDC"/>
          </a:solidFill>
        </p:spPr>
        <p:txBody>
          <a:bodyPr lIns="180000" anchor="ctr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>
                <a:solidFill>
                  <a:schemeClr val="accent5">
                    <a:lumMod val="50000"/>
                  </a:schemeClr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2800" b="0"/>
            </a:lvl9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51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: Eight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DB92-B71D-4CA3-BED1-AE9C07E7F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858000" cy="763200"/>
          </a:xfrm>
        </p:spPr>
        <p:txBody>
          <a:bodyPr rIns="0"/>
          <a:lstStyle>
            <a:lvl1pPr>
              <a:defRPr sz="20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BA15FE-0F14-44D9-BA17-21995E2C14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524000"/>
            <a:ext cx="2570400" cy="19044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3pPr marL="270000" indent="-126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396000" indent="-126000">
              <a:spcBef>
                <a:spcPts val="0"/>
              </a:spcBef>
              <a:buFont typeface="Avenir Next LT Pro" panose="020B0504020202020204" pitchFamily="34" charset="0"/>
              <a:buChar char="–"/>
              <a:defRPr sz="1400" b="0"/>
            </a:lvl4pPr>
            <a:lvl5pPr>
              <a:defRPr sz="1600"/>
            </a:lvl5pPr>
          </a:lstStyle>
          <a:p>
            <a:pPr lvl="0"/>
            <a:r>
              <a:rPr lang="en-GB"/>
              <a:t>Click to add short intro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6165A88-E664-4A2D-A582-4001D9B7E2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3810000"/>
            <a:ext cx="2570400" cy="1905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F34624D-90F7-4331-AA65-C99AAE4BC1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30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DC63C98-80B0-43ED-A5A3-CA7C5FB7913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30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CA2038F-77F7-46CD-9F73-7EEF2FE84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892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E1C7D49-A5E0-4CB4-9656-ADE8FA685F0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892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6pPr>
              <a:defRPr/>
            </a:lvl6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135DBD11-565F-4EA8-914D-E9EE99A42F0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234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endParaRPr lang="en-GB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BCA86996-965A-4D13-B4A6-A6C7C77B306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234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5088870-3977-44B5-8E0C-C2DD706611A2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3792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C3061E-84D3-44E8-83E2-B6EFB6BA83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D57496E5-E914-4E10-867C-5485B28750F1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F57AD-E863-460B-A6C8-926CA64BD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38D47F-C454-4616-B35B-410770E9E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66930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: Eight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8BDB92-B71D-4CA3-BED1-AE9C07E7F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857400" cy="763200"/>
          </a:xfrm>
        </p:spPr>
        <p:txBody>
          <a:bodyPr rIns="0"/>
          <a:lstStyle>
            <a:lvl1pPr>
              <a:defRPr sz="2000"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BA15FE-0F14-44D9-BA17-21995E2C14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81000" y="1524000"/>
            <a:ext cx="2570400" cy="19044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144000" indent="-144000">
              <a:buFont typeface="Wingdings" panose="05000000000000000000" pitchFamily="2" charset="2"/>
              <a:buChar char="§"/>
              <a:defRPr/>
            </a:lvl2pPr>
            <a:lvl3pPr marL="270000" indent="-1260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396000" indent="-126000">
              <a:spcBef>
                <a:spcPts val="0"/>
              </a:spcBef>
              <a:buFont typeface="Avenir Next LT Pro" panose="020B0504020202020204" pitchFamily="34" charset="0"/>
              <a:buChar char="–"/>
              <a:defRPr sz="1400" b="0"/>
            </a:lvl4pPr>
          </a:lstStyle>
          <a:p>
            <a:pPr lvl="0"/>
            <a:r>
              <a:rPr lang="en-GB"/>
              <a:t>Click to add short intro text here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6165A88-E664-4A2D-A582-4001D9B7E2D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81000" y="3810000"/>
            <a:ext cx="2570400" cy="19050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F34624D-90F7-4331-AA65-C99AAE4BC15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3300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DC63C98-80B0-43ED-A5A3-CA7C5FB7913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3300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FCA2038F-77F7-46CD-9F73-7EEF2FE84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89200" y="1524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DE1C7D49-A5E0-4CB4-9656-ADE8FA685F0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289200" y="3810000"/>
            <a:ext cx="2570400" cy="1904400"/>
          </a:xfrm>
        </p:spPr>
        <p:txBody>
          <a:bodyPr/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spcBef>
                <a:spcPts val="0"/>
              </a:spcBef>
              <a:defRPr sz="1100"/>
            </a:lvl4pPr>
            <a:lvl5pPr>
              <a:defRPr sz="1100"/>
            </a:lvl5pPr>
            <a:lvl6pPr>
              <a:defRPr/>
            </a:lvl6pPr>
            <a:lvl9pPr>
              <a:defRPr sz="3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text                               Enter &amp; TAB for next text level SHIFT+TAB to go back in level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5A2E69DB-E5BA-495E-BCBA-614128A5C37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48400" y="581598"/>
            <a:ext cx="2570400" cy="5132802"/>
          </a:xfrm>
          <a:solidFill>
            <a:schemeClr val="accent4"/>
          </a:solidFill>
        </p:spPr>
        <p:txBody>
          <a:bodyPr lIns="190800" tIns="936000" rIns="18000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>
                <a:solidFill>
                  <a:schemeClr val="bg1"/>
                </a:solidFill>
              </a:defRPr>
            </a:lvl2pPr>
            <a:lvl3pPr marL="180000">
              <a:spcBef>
                <a:spcPts val="600"/>
              </a:spcBef>
              <a:spcAft>
                <a:spcPts val="0"/>
              </a:spcAft>
              <a:defRPr sz="28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highlight text</a:t>
            </a:r>
          </a:p>
          <a:p>
            <a:pPr lvl="1"/>
            <a:endParaRPr lang="en-GB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1126FFE-ACCB-4BFB-9393-B104A3CDC003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8478600" cy="3786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63C3061E-84D3-44E8-83E2-B6EFB6BA83E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BA1B871E-814E-462C-8A73-3F56F2F3625C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18F57AD-E863-460B-A6C8-926CA64BD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038D47F-C454-4616-B35B-410770E9EC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Text Placeholder 41">
            <a:extLst>
              <a:ext uri="{FF2B5EF4-FFF2-40B4-BE49-F238E27FC236}">
                <a16:creationId xmlns:a16="http://schemas.microsoft.com/office/drawing/2014/main" id="{88531C3B-FC61-40BD-B5A6-C2DECD23C27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57200" y="387000"/>
            <a:ext cx="882000" cy="381600"/>
          </a:xfrm>
          <a:solidFill>
            <a:srgbClr val="D6BB74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323277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itorial: Full Picture and Ico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0" tIns="7200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on frame and insert dark background picture from the Templafy pan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6061D2-DD90-4428-884C-A041AF247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6476400" cy="763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white">
          <a:xfrm>
            <a:off x="3816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white">
          <a:xfrm>
            <a:off x="33372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endParaRPr lang="en-GB"/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62928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2"/>
            <a:endParaRPr lang="en-GB"/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white">
          <a:xfrm>
            <a:off x="92484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tx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ClrTx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56D12F4F-59DA-4F8E-8139-54B98F195844}"/>
              </a:ext>
            </a:extLst>
          </p:cNvPr>
          <p:cNvSpPr>
            <a:spLocks noGrp="1" noChangeAspect="1"/>
          </p:cNvSpPr>
          <p:nvPr>
            <p:ph sz="quarter" idx="31" hasCustomPrompt="1"/>
          </p:nvPr>
        </p:nvSpPr>
        <p:spPr>
          <a:xfrm>
            <a:off x="3816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0C19EADF-D75D-42F9-B93F-7DA40BC7B7D8}"/>
              </a:ext>
            </a:extLst>
          </p:cNvPr>
          <p:cNvSpPr>
            <a:spLocks noGrp="1" noChangeAspect="1"/>
          </p:cNvSpPr>
          <p:nvPr>
            <p:ph sz="quarter" idx="32" hasCustomPrompt="1"/>
          </p:nvPr>
        </p:nvSpPr>
        <p:spPr>
          <a:xfrm>
            <a:off x="33372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630D7618-6CF7-4C05-AC7B-30A23F391BD0}"/>
              </a:ext>
            </a:extLst>
          </p:cNvPr>
          <p:cNvSpPr>
            <a:spLocks noGrp="1" noChangeAspect="1"/>
          </p:cNvSpPr>
          <p:nvPr>
            <p:ph sz="quarter" idx="33" hasCustomPrompt="1"/>
          </p:nvPr>
        </p:nvSpPr>
        <p:spPr>
          <a:xfrm>
            <a:off x="62928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5A2E752A-F32B-483C-9B10-A4ED0125ACA5}"/>
              </a:ext>
            </a:extLst>
          </p:cNvPr>
          <p:cNvSpPr>
            <a:spLocks noGrp="1" noChangeAspect="1"/>
          </p:cNvSpPr>
          <p:nvPr>
            <p:ph sz="quarter" idx="34" hasCustomPrompt="1"/>
          </p:nvPr>
        </p:nvSpPr>
        <p:spPr>
          <a:xfrm>
            <a:off x="92484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/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7" name="Text Placeholder 37">
            <a:extLst>
              <a:ext uri="{FF2B5EF4-FFF2-40B4-BE49-F238E27FC236}">
                <a16:creationId xmlns:a16="http://schemas.microsoft.com/office/drawing/2014/main" id="{7EC3059A-76AD-439F-83BC-EF67DD173DC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952850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8" name="Text Placeholder 39">
            <a:extLst>
              <a:ext uri="{FF2B5EF4-FFF2-40B4-BE49-F238E27FC236}">
                <a16:creationId xmlns:a16="http://schemas.microsoft.com/office/drawing/2014/main" id="{CC5BA31D-694B-4AF6-903C-5C7CB53A09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12050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39" name="Text Placeholder 41">
            <a:extLst>
              <a:ext uri="{FF2B5EF4-FFF2-40B4-BE49-F238E27FC236}">
                <a16:creationId xmlns:a16="http://schemas.microsoft.com/office/drawing/2014/main" id="{D773BC7E-0105-4D2D-867F-75B853AB8A6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866644" y="1522800"/>
            <a:ext cx="12700" cy="4190400"/>
          </a:xfrm>
          <a:solidFill>
            <a:schemeClr val="tx1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3071784A-C8C9-4629-A5EE-7C32F685602B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381600" y="6285600"/>
            <a:ext cx="1042200" cy="1908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6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B836D199-C9CC-4985-AAC1-54E34054D8C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8"/>
          </p:nvPr>
        </p:nvSpPr>
        <p:spPr/>
        <p:txBody>
          <a:bodyPr/>
          <a:lstStyle/>
          <a:p>
            <a:fld id="{38788422-A73A-431D-B8AE-D806B5BD6DFA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8E34CE-AAB8-4029-A91D-00D3DE49ED6B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1B49DF-7251-449A-9488-E7C771FC540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2391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ditorial: Icons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76061D2-DD90-4428-884C-A041AF2473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476400" cy="7632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28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8400" y="2667600"/>
            <a:ext cx="2188800" cy="3049200"/>
          </a:xfrm>
          <a:noFill/>
        </p:spPr>
        <p:txBody>
          <a:bodyPr lIns="0" tIns="0" rIns="0" bIns="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b="1">
                <a:solidFill>
                  <a:schemeClr val="accent1"/>
                </a:solidFill>
              </a:defRPr>
            </a:lvl1pPr>
            <a:lvl2pPr marL="144000" indent="-144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  <a:lvl6pPr>
              <a:defRPr>
                <a:solidFill>
                  <a:schemeClr val="accent1"/>
                </a:solidFill>
              </a:defRPr>
            </a:lvl6pPr>
            <a:lvl7pPr>
              <a:defRPr>
                <a:solidFill>
                  <a:schemeClr val="accent1"/>
                </a:solidFill>
              </a:defRPr>
            </a:lvl7pPr>
            <a:lvl8pPr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en-GB"/>
              <a:t>Click to add subhead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56D12F4F-59DA-4F8E-8139-54B98F195844}"/>
              </a:ext>
            </a:extLst>
          </p:cNvPr>
          <p:cNvSpPr>
            <a:spLocks noGrp="1" noChangeAspect="1"/>
          </p:cNvSpPr>
          <p:nvPr>
            <p:ph sz="quarter" idx="31" hasCustomPrompt="1"/>
          </p:nvPr>
        </p:nvSpPr>
        <p:spPr>
          <a:xfrm>
            <a:off x="3816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0C19EADF-D75D-42F9-B93F-7DA40BC7B7D8}"/>
              </a:ext>
            </a:extLst>
          </p:cNvPr>
          <p:cNvSpPr>
            <a:spLocks noGrp="1" noChangeAspect="1"/>
          </p:cNvSpPr>
          <p:nvPr>
            <p:ph sz="quarter" idx="32" hasCustomPrompt="1"/>
          </p:nvPr>
        </p:nvSpPr>
        <p:spPr>
          <a:xfrm>
            <a:off x="33372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630D7618-6CF7-4C05-AC7B-30A23F391BD0}"/>
              </a:ext>
            </a:extLst>
          </p:cNvPr>
          <p:cNvSpPr>
            <a:spLocks noGrp="1" noChangeAspect="1"/>
          </p:cNvSpPr>
          <p:nvPr>
            <p:ph sz="quarter" idx="33" hasCustomPrompt="1"/>
          </p:nvPr>
        </p:nvSpPr>
        <p:spPr>
          <a:xfrm>
            <a:off x="62928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5A2E752A-F32B-483C-9B10-A4ED0125ACA5}"/>
              </a:ext>
            </a:extLst>
          </p:cNvPr>
          <p:cNvSpPr>
            <a:spLocks noGrp="1" noChangeAspect="1"/>
          </p:cNvSpPr>
          <p:nvPr>
            <p:ph sz="quarter" idx="34" hasCustomPrompt="1"/>
          </p:nvPr>
        </p:nvSpPr>
        <p:spPr>
          <a:xfrm>
            <a:off x="9248400" y="1522800"/>
            <a:ext cx="763200" cy="763200"/>
          </a:xfrm>
        </p:spPr>
        <p:txBody>
          <a:bodyPr wrap="none" lIns="864000"/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  <a:lvl2pPr marL="180000" indent="0">
              <a:buNone/>
              <a:defRPr sz="1100"/>
            </a:lvl2pPr>
            <a:lvl3pPr marL="360000" indent="0"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GB"/>
              <a:t>Copy icon, </a:t>
            </a:r>
            <a:br>
              <a:rPr lang="en-GB"/>
            </a:br>
            <a:r>
              <a:rPr lang="en-GB"/>
              <a:t>click on this </a:t>
            </a:r>
            <a:br>
              <a:rPr lang="en-GB"/>
            </a:br>
            <a:r>
              <a:rPr lang="en-GB"/>
              <a:t>placeholders’ </a:t>
            </a:r>
            <a:br>
              <a:rPr lang="en-GB"/>
            </a:br>
            <a:r>
              <a:rPr lang="en-GB"/>
              <a:t>frame and paste</a:t>
            </a:r>
            <a:br>
              <a:rPr lang="en-GB"/>
            </a:br>
            <a:r>
              <a:rPr lang="en-GB"/>
              <a:t>Left align with </a:t>
            </a:r>
            <a:br>
              <a:rPr lang="en-GB"/>
            </a:br>
            <a:r>
              <a:rPr lang="en-GB"/>
              <a:t>text under</a:t>
            </a:r>
          </a:p>
        </p:txBody>
      </p:sp>
      <p:sp>
        <p:nvSpPr>
          <p:cNvPr id="20" name="Text Placeholder 37">
            <a:extLst>
              <a:ext uri="{FF2B5EF4-FFF2-40B4-BE49-F238E27FC236}">
                <a16:creationId xmlns:a16="http://schemas.microsoft.com/office/drawing/2014/main" id="{80266E4F-5E07-4CBC-8BC6-E9581225C539}"/>
              </a:ext>
            </a:extLst>
          </p:cNvPr>
          <p:cNvSpPr txBox="1">
            <a:spLocks/>
          </p:cNvSpPr>
          <p:nvPr userDrawn="1"/>
        </p:nvSpPr>
        <p:spPr>
          <a:xfrm>
            <a:off x="2952850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1" name="Text Placeholder 39">
            <a:extLst>
              <a:ext uri="{FF2B5EF4-FFF2-40B4-BE49-F238E27FC236}">
                <a16:creationId xmlns:a16="http://schemas.microsoft.com/office/drawing/2014/main" id="{D7EA1E37-F1D8-497D-8EFD-017F322C51D8}"/>
              </a:ext>
            </a:extLst>
          </p:cNvPr>
          <p:cNvSpPr txBox="1">
            <a:spLocks/>
          </p:cNvSpPr>
          <p:nvPr userDrawn="1"/>
        </p:nvSpPr>
        <p:spPr>
          <a:xfrm>
            <a:off x="5912050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3" name="Text Placeholder 41">
            <a:extLst>
              <a:ext uri="{FF2B5EF4-FFF2-40B4-BE49-F238E27FC236}">
                <a16:creationId xmlns:a16="http://schemas.microsoft.com/office/drawing/2014/main" id="{7FC486CC-9843-4F56-88F5-46F2A706FE92}"/>
              </a:ext>
            </a:extLst>
          </p:cNvPr>
          <p:cNvSpPr txBox="1">
            <a:spLocks/>
          </p:cNvSpPr>
          <p:nvPr userDrawn="1"/>
        </p:nvSpPr>
        <p:spPr>
          <a:xfrm>
            <a:off x="8866644" y="1522800"/>
            <a:ext cx="12700" cy="4190400"/>
          </a:xfrm>
          <a:prstGeom prst="rect">
            <a:avLst/>
          </a:prstGeom>
          <a:solidFill>
            <a:srgbClr val="D20014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1pPr>
            <a:lvl2pPr marL="18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2pPr>
            <a:lvl3pPr marL="36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600" kern="1200">
                <a:noFill/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600" b="1" kern="1200">
                <a:noFill/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/>
              <a:defRPr sz="600" kern="1200">
                <a:noFill/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4C74F71-A43D-4DF2-8D45-3A8B9772399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5"/>
          </p:nvPr>
        </p:nvSpPr>
        <p:spPr/>
        <p:txBody>
          <a:bodyPr/>
          <a:lstStyle/>
          <a:p>
            <a:fld id="{9A8EC1DF-E910-4AAE-A9F6-9F4245F3231C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826738-3583-4158-B5F1-89195ED5AF34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5F0756-7B06-4068-BDE3-D7AA112EBA32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7742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: Two Highlig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0" y="762000"/>
            <a:ext cx="5904000" cy="4572000"/>
          </a:xfrm>
          <a:solidFill>
            <a:schemeClr val="bg2"/>
          </a:solidFill>
        </p:spPr>
        <p:txBody>
          <a:bodyPr lIns="381600" tIns="504000" rIns="3816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rgbClr val="1AB092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rgbClr val="1AB092"/>
                </a:solidFill>
              </a:defRPr>
            </a:lvl2pPr>
            <a:lvl3pPr marL="176400" indent="-1764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rgbClr val="1AB092"/>
                </a:solidFill>
              </a:defRPr>
            </a:lvl3pPr>
            <a:lvl4pPr>
              <a:defRPr>
                <a:solidFill>
                  <a:srgbClr val="1AB092"/>
                </a:solidFill>
              </a:defRPr>
            </a:lvl4pPr>
            <a:lvl5pPr>
              <a:defRPr>
                <a:solidFill>
                  <a:srgbClr val="1AB092"/>
                </a:solidFill>
              </a:defRPr>
            </a:lvl5pPr>
            <a:lvl6pPr>
              <a:buClrTx/>
              <a:defRPr>
                <a:solidFill>
                  <a:srgbClr val="1AB092"/>
                </a:solidFill>
              </a:defRPr>
            </a:lvl6pPr>
            <a:lvl7pPr>
              <a:defRPr>
                <a:solidFill>
                  <a:srgbClr val="1AB092"/>
                </a:solidFill>
              </a:defRPr>
            </a:lvl7pPr>
            <a:lvl8pPr>
              <a:defRPr>
                <a:solidFill>
                  <a:srgbClr val="1AB092"/>
                </a:solidFill>
              </a:defRPr>
            </a:lvl8pPr>
            <a:lvl9pPr>
              <a:defRPr>
                <a:solidFill>
                  <a:srgbClr val="1AB092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88002" y="762000"/>
            <a:ext cx="5903998" cy="4572000"/>
          </a:xfrm>
          <a:solidFill>
            <a:srgbClr val="1AB092"/>
          </a:solidFill>
        </p:spPr>
        <p:txBody>
          <a:bodyPr lIns="381600" tIns="504000" rIns="3816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60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2pPr>
            <a:lvl3pPr marL="176400" indent="-1764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E30B257-F253-48E2-BAA5-AE42C03EECF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B9B1D7A8-E726-429C-AEA6-9B2C87352CCE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ED9260-72F7-46AA-A063-9046FFEB90D0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9C4232-A4EB-4B4B-A01A-DFF8B89AA5E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41">
            <a:extLst>
              <a:ext uri="{FF2B5EF4-FFF2-40B4-BE49-F238E27FC236}">
                <a16:creationId xmlns:a16="http://schemas.microsoft.com/office/drawing/2014/main" id="{09A96D73-B184-BC87-9F2F-F79BAFFF77B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49200" y="559128"/>
            <a:ext cx="882000" cy="381600"/>
          </a:xfrm>
          <a:solidFill>
            <a:srgbClr val="45A6DE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5264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: Four Highligh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2D53E2-1073-4646-88DD-616BCF2C5E1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6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tabLst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B2F024ED-E21A-477B-A821-E7F85A2BB8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372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2BDBF2D4-D010-4E51-95B8-DCBFAF31E7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2800" y="762000"/>
            <a:ext cx="2570400" cy="4572000"/>
          </a:xfrm>
          <a:solidFill>
            <a:srgbClr val="D8D9DA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accent4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accent4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accent4"/>
                </a:solidFill>
              </a:defRPr>
            </a:lvl3pPr>
            <a:lvl4pPr>
              <a:defRPr sz="1400">
                <a:solidFill>
                  <a:schemeClr val="accent4"/>
                </a:solidFill>
              </a:defRPr>
            </a:lvl4pPr>
            <a:lvl5pPr>
              <a:defRPr sz="1400">
                <a:solidFill>
                  <a:schemeClr val="accent4"/>
                </a:solidFill>
              </a:defRPr>
            </a:lvl5pPr>
            <a:lvl6pPr>
              <a:buClrTx/>
              <a:defRPr>
                <a:solidFill>
                  <a:schemeClr val="accent4"/>
                </a:solidFill>
              </a:defRPr>
            </a:lvl6pPr>
            <a:lvl7pPr>
              <a:defRPr>
                <a:solidFill>
                  <a:schemeClr val="accent4"/>
                </a:solidFill>
              </a:defRPr>
            </a:lvl7pPr>
            <a:lvl8pPr>
              <a:defRPr>
                <a:solidFill>
                  <a:schemeClr val="accent4"/>
                </a:solidFill>
              </a:defRPr>
            </a:lvl8pPr>
            <a:lvl9pPr>
              <a:defRPr>
                <a:solidFill>
                  <a:schemeClr val="accent4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Text Placeholder 19">
            <a:extLst>
              <a:ext uri="{FF2B5EF4-FFF2-40B4-BE49-F238E27FC236}">
                <a16:creationId xmlns:a16="http://schemas.microsoft.com/office/drawing/2014/main" id="{CFA49303-64FB-4979-9405-E9B8E372010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8400" y="762000"/>
            <a:ext cx="2570400" cy="4572000"/>
          </a:xfrm>
          <a:solidFill>
            <a:schemeClr val="accent4"/>
          </a:solidFill>
        </p:spPr>
        <p:txBody>
          <a:bodyPr lIns="360000" tIns="504000" rIns="360000" bIns="360000"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3600" b="1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400">
                <a:solidFill>
                  <a:schemeClr val="bg1"/>
                </a:solidFill>
              </a:defRPr>
            </a:lvl2pPr>
            <a:lvl3pPr marL="126000" indent="-12600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Text Placeholder 41">
            <a:extLst>
              <a:ext uri="{FF2B5EF4-FFF2-40B4-BE49-F238E27FC236}">
                <a16:creationId xmlns:a16="http://schemas.microsoft.com/office/drawing/2014/main" id="{9F290E1F-8C2A-49EC-BE37-43B747F88FA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457200" y="559128"/>
            <a:ext cx="882000" cy="381600"/>
          </a:xfrm>
          <a:solidFill>
            <a:srgbClr val="FF7768"/>
          </a:solidFill>
        </p:spPr>
        <p:txBody>
          <a:bodyPr/>
          <a:lstStyle>
            <a:lvl1pPr marL="0" indent="0">
              <a:buFontTx/>
              <a:buNone/>
              <a:defRPr sz="600">
                <a:noFill/>
              </a:defRPr>
            </a:lvl1pPr>
            <a:lvl2pPr marL="180000" indent="0">
              <a:buFontTx/>
              <a:buNone/>
              <a:defRPr sz="600">
                <a:noFill/>
              </a:defRPr>
            </a:lvl2pPr>
            <a:lvl3pPr marL="360000" indent="0">
              <a:buFontTx/>
              <a:buNone/>
              <a:defRPr sz="600">
                <a:noFill/>
              </a:defRPr>
            </a:lvl3pPr>
            <a:lvl4pPr>
              <a:buFontTx/>
              <a:buNone/>
              <a:defRPr sz="600">
                <a:noFill/>
              </a:defRPr>
            </a:lvl4pPr>
            <a:lvl5pPr>
              <a:buFontTx/>
              <a:buNone/>
              <a:defRPr sz="600">
                <a:noFill/>
              </a:defRPr>
            </a:lvl5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42BB9F23-ED93-4E96-B8D1-B6BC81B430E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7"/>
          </p:nvPr>
        </p:nvSpPr>
        <p:spPr/>
        <p:txBody>
          <a:bodyPr/>
          <a:lstStyle/>
          <a:p>
            <a:fld id="{CDFC6ECE-8BE5-46ED-9F85-35ED22870EC0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D14C74-CB1E-4B5A-96B5-AE6E551A5F20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DE2D26-F347-4FBC-BEFA-510D138078BA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673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EC7DD8DC-D2A8-999B-ECEE-43F5022F3E8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8181AF-B3B9-43B7-8BC8-4EE7E38ED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381000"/>
            <a:ext cx="6095400" cy="7632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ADA2BB-9129-4650-A933-7952E1110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9412" y="1524000"/>
            <a:ext cx="6097587" cy="34290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Aft>
                <a:spcPts val="1200"/>
              </a:spcAft>
              <a:buNone/>
              <a:defRPr sz="2000"/>
            </a:lvl2pPr>
            <a:lvl3pPr marL="0" indent="0">
              <a:spcAft>
                <a:spcPts val="12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1200"/>
              </a:spcAft>
              <a:defRPr sz="2000" b="0"/>
            </a:lvl4pPr>
            <a:lvl5pPr marL="0" indent="0">
              <a:spcAft>
                <a:spcPts val="1200"/>
              </a:spcAft>
              <a:defRPr sz="2000"/>
            </a:lvl5pPr>
          </a:lstStyle>
          <a:p>
            <a:pPr lvl="0"/>
            <a:r>
              <a:rPr lang="en-GB"/>
              <a:t>Click to add quotation</a:t>
            </a:r>
          </a:p>
          <a:p>
            <a:pPr lvl="0"/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AFB780-5F0C-4980-958A-84441C19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412" y="4953000"/>
            <a:ext cx="6097588" cy="762000"/>
          </a:xfrm>
        </p:spPr>
        <p:txBody>
          <a:bodyPr rIns="360000" anchor="b" anchorCtr="0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add Name                                                                                                                           Tit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AB82F2F-7F96-4576-B310-91B85BB2E1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D91FC031-FF4D-464D-A4CB-449B9E2FA71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73E53AA5-1A08-4D09-8819-EE862D62C4B6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B09817-AE8A-4475-B9AB-93C73811DF2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429000" y="6096000"/>
            <a:ext cx="8001000" cy="38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CE2F6E-9150-46FD-BA41-2883039131F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1396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">
    <p:bg>
      <p:bgPr>
        <a:solidFill>
          <a:srgbClr val="D200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>
            <a:extLst>
              <a:ext uri="{FF2B5EF4-FFF2-40B4-BE49-F238E27FC236}">
                <a16:creationId xmlns:a16="http://schemas.microsoft.com/office/drawing/2014/main" id="{78205054-25B7-4003-94EA-98F762DF9F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5A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ADA2BB-9129-4650-A933-7952E1110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379412" y="381000"/>
            <a:ext cx="6097587" cy="45720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4000">
                <a:solidFill>
                  <a:srgbClr val="EBEA79"/>
                </a:solidFill>
              </a:defRPr>
            </a:lvl1pPr>
            <a:lvl2pPr marL="0" indent="0">
              <a:spcAft>
                <a:spcPts val="1200"/>
              </a:spcAft>
              <a:buNone/>
              <a:defRPr sz="2000"/>
            </a:lvl2pPr>
            <a:lvl3pPr marL="0" indent="0">
              <a:spcAft>
                <a:spcPts val="12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1200"/>
              </a:spcAft>
              <a:defRPr sz="2000" b="0"/>
            </a:lvl4pPr>
            <a:lvl5pPr marL="0" indent="0">
              <a:spcAft>
                <a:spcPts val="1200"/>
              </a:spcAft>
              <a:defRPr sz="2000"/>
            </a:lvl5pPr>
          </a:lstStyle>
          <a:p>
            <a:pPr lvl="0"/>
            <a:r>
              <a:rPr lang="en-GB"/>
              <a:t>Click to add quot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AFB780-5F0C-4980-958A-84441C19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379412" y="4953000"/>
            <a:ext cx="6097588" cy="762000"/>
          </a:xfrm>
        </p:spPr>
        <p:txBody>
          <a:bodyPr rIns="360000" anchor="b" anchorCtr="0"/>
          <a:lstStyle>
            <a:lvl1pPr marL="0" indent="0">
              <a:buNone/>
              <a:defRPr sz="1200">
                <a:solidFill>
                  <a:srgbClr val="EBEA79"/>
                </a:solidFill>
              </a:defRPr>
            </a:lvl1pPr>
          </a:lstStyle>
          <a:p>
            <a:pPr lvl="0"/>
            <a:r>
              <a:rPr lang="en-GB"/>
              <a:t>Click to add Name                                                                                                                           Title</a:t>
            </a: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A99850C1-0DB1-44D5-9BBA-8BD432A2FF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CDB0747E-46FD-4CF2-9DD2-7060C5EF37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/>
        <p:txBody>
          <a:bodyPr/>
          <a:lstStyle/>
          <a:p>
            <a:fld id="{CC1AB96A-67C7-4400-B7C9-490F95835B0C}" type="datetime4">
              <a:rPr lang="en-US" smtClean="0"/>
              <a:t>March 18, 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273628-79C9-4C40-91B8-A68FBA247A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416300" y="6096000"/>
            <a:ext cx="80137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4CE7D8-A5E3-40C0-91F0-24A8111888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2317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">
    <p:bg>
      <p:bgPr>
        <a:solidFill>
          <a:srgbClr val="D2001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>
            <a:extLst>
              <a:ext uri="{FF2B5EF4-FFF2-40B4-BE49-F238E27FC236}">
                <a16:creationId xmlns:a16="http://schemas.microsoft.com/office/drawing/2014/main" id="{9F79E0AF-53B2-490A-B9FC-BA1E0D0978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72902F1C-AC43-4F39-A384-292D87EBF4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0" y="6096189"/>
            <a:ext cx="2083260" cy="3808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88CEFD-30ED-4622-96F2-492E3A38E7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381600" y="381000"/>
            <a:ext cx="6095400" cy="3429000"/>
          </a:xfrm>
        </p:spPr>
        <p:txBody>
          <a:bodyPr/>
          <a:lstStyle>
            <a:lvl1pPr>
              <a:lnSpc>
                <a:spcPct val="9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76B8B0-E174-426B-971A-ED268A4995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413" y="3810001"/>
            <a:ext cx="3811587" cy="1905000"/>
          </a:xfrm>
        </p:spPr>
        <p:txBody>
          <a:bodyPr anchor="b" anchorCtr="0"/>
          <a:lstStyle>
            <a:lvl1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1pPr>
            <a:lvl2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2pPr>
            <a:lvl3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/>
            </a:lvl3pPr>
            <a:lvl4pPr>
              <a:spcBef>
                <a:spcPts val="0"/>
              </a:spcBef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  <a:lvl6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6pPr>
            <a:lvl7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7pPr>
            <a:lvl8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8pPr>
            <a:lvl9pPr marL="0" indent="0">
              <a:spcAft>
                <a:spcPts val="1200"/>
              </a:spcAft>
              <a:buFont typeface="Arial" panose="020B0604020202020204" pitchFamily="34" charset="0"/>
              <a:buChar char="​"/>
              <a:defRPr sz="1400" b="0"/>
            </a:lvl9pPr>
          </a:lstStyle>
          <a:p>
            <a:pPr lvl="0"/>
            <a:r>
              <a:rPr lang="en-GB"/>
              <a:t>Click to add Company name in bold and address in regular type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6ED06A3-2C86-406B-92E5-266056A66A2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9"/>
          </p:nvPr>
        </p:nvSpPr>
        <p:spPr/>
        <p:txBody>
          <a:bodyPr/>
          <a:lstStyle/>
          <a:p>
            <a:fld id="{F17AE603-DAA2-4268-92B9-B02B76090B8F}" type="datetime4">
              <a:rPr lang="en-US" smtClean="0"/>
              <a:t>March 18, 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024975-5628-48DC-84D7-473CD96D0D2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8D5B7E-8D98-4BD4-82A4-24F9112DBB3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9121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-408870" y="0"/>
            <a:ext cx="12193200" cy="6861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rgbClr val="FF7768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450A3F95-7611-4E36-BC6F-31502735EA80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9117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C9D909-49D5-40E7-8A46-904F421801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FF0797-A966-40B5-8E81-0CC45FE6AE99}"/>
              </a:ext>
            </a:extLst>
          </p:cNvPr>
          <p:cNvSpPr>
            <a:spLocks noGrp="1"/>
          </p:cNvSpPr>
          <p:nvPr>
            <p:ph type="subTitle" idx="40" hasCustomPrompt="1"/>
          </p:nvPr>
        </p:nvSpPr>
        <p:spPr>
          <a:xfrm>
            <a:off x="381000" y="5716800"/>
            <a:ext cx="11429400" cy="270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>
                <a:solidFill>
                  <a:srgbClr val="000000"/>
                </a:solidFill>
              </a:defRPr>
            </a:lvl1pPr>
            <a:lvl2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2pPr>
            <a:lvl3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3pPr>
            <a:lvl4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4pPr>
            <a:lvl5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5pPr>
            <a:lvl6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6pPr>
            <a:lvl7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7pPr>
            <a:lvl8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8pPr>
            <a:lvl9pPr marL="0" indent="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​"/>
              <a:defRPr sz="800" b="0"/>
            </a:lvl9pPr>
          </a:lstStyle>
          <a:p>
            <a:r>
              <a:rPr lang="en-GB"/>
              <a:t>Click to add notes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78EA26B1-FC6D-4CA6-9A27-CF078707DD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C357FCB3-FB5C-43D6-80DE-F69EAB04ECCA}" type="datetime4">
              <a:rPr lang="en-US" smtClean="0"/>
              <a:t>March 18, 2025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625BD2D-2C9E-4524-8D8C-056A6E4F9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ADA5701-D12F-4F62-9DC9-144B5ED66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07EE3D12-0A24-4095-B3CA-1460F9D67CA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F70E171B-92AF-4C2F-88B6-972A7E028023}" type="datetime4">
              <a:rPr lang="en-US" smtClean="0"/>
              <a:t>March 18, 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B036BFD-3EFB-4645-8D5B-898965DE8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1E0F2C2-3EA8-4C28-9ED1-DDCDDCE54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379413" y="385846"/>
            <a:ext cx="11050587" cy="75715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BB3B459-CDFE-44C8-879C-511BDE5A64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9413" y="1524000"/>
            <a:ext cx="2448000" cy="3801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witch from one level to the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>
                <a:latin typeface="+mn-lt"/>
                <a:cs typeface="Arial" panose="020B060402020202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en-GB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</a:t>
            </a:r>
            <a:b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en-GB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slide layouts</a:t>
            </a:r>
            <a:endParaRPr lang="en-GB" sz="900">
              <a:latin typeface="+mn-lt"/>
              <a:ea typeface="Arial" panose="020B0604020202020204" pitchFamily="34" charset="0"/>
            </a:endParaRP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66B3FBB4-61DE-493B-8F38-CB78E008D9B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21830" y="1524000"/>
            <a:ext cx="2448000" cy="2723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PICTURES</a:t>
            </a:r>
            <a:endParaRPr lang="en-GB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15" name="Text Box 4">
            <a:extLst>
              <a:ext uri="{FF2B5EF4-FFF2-40B4-BE49-F238E27FC236}">
                <a16:creationId xmlns:a16="http://schemas.microsoft.com/office/drawing/2014/main" id="{17EA80A0-F605-4897-AE2A-18933CAB6DB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63000" y="1524000"/>
            <a:ext cx="2448000" cy="4801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HEADER &amp; FOOTER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600"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>
                <a:solidFill>
                  <a:srgbClr val="333333"/>
                </a:solidFill>
                <a:effectLst/>
                <a:latin typeface="Arial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722642E-922E-4D3E-9481-C027E3A93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68744" y="4864619"/>
            <a:ext cx="475428" cy="17676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37E3D92-3923-49A5-9D66-A01D052984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56371" y="1807038"/>
            <a:ext cx="341204" cy="321707"/>
          </a:xfrm>
          <a:prstGeom prst="rect">
            <a:avLst/>
          </a:prstGeom>
        </p:spPr>
      </p:pic>
      <p:pic>
        <p:nvPicPr>
          <p:cNvPr id="24" name="Picture 16">
            <a:extLst>
              <a:ext uri="{FF2B5EF4-FFF2-40B4-BE49-F238E27FC236}">
                <a16:creationId xmlns:a16="http://schemas.microsoft.com/office/drawing/2014/main" id="{EE4BD888-DAA9-4A3B-ADD9-0ACB9540A6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668744" y="4053549"/>
            <a:ext cx="328881" cy="505501"/>
          </a:xfrm>
          <a:prstGeom prst="rect">
            <a:avLst/>
          </a:prstGeom>
        </p:spPr>
      </p:pic>
      <p:pic>
        <p:nvPicPr>
          <p:cNvPr id="26" name="Picture 20">
            <a:extLst>
              <a:ext uri="{FF2B5EF4-FFF2-40B4-BE49-F238E27FC236}">
                <a16:creationId xmlns:a16="http://schemas.microsoft.com/office/drawing/2014/main" id="{ADF46DFB-ABDB-43BA-AD93-FDEE2D7642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72411" y="3272864"/>
            <a:ext cx="538465" cy="172841"/>
          </a:xfrm>
          <a:prstGeom prst="rect">
            <a:avLst/>
          </a:prstGeom>
        </p:spPr>
      </p:pic>
      <p:pic>
        <p:nvPicPr>
          <p:cNvPr id="27" name="Picture 19">
            <a:extLst>
              <a:ext uri="{FF2B5EF4-FFF2-40B4-BE49-F238E27FC236}">
                <a16:creationId xmlns:a16="http://schemas.microsoft.com/office/drawing/2014/main" id="{CF6F40E1-EF2A-4675-A88E-429AD3ADD34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432515" y="2525518"/>
            <a:ext cx="313788" cy="543900"/>
          </a:xfrm>
          <a:prstGeom prst="rect">
            <a:avLst/>
          </a:prstGeom>
        </p:spPr>
      </p:pic>
      <p:pic>
        <p:nvPicPr>
          <p:cNvPr id="18" name="Picture 12">
            <a:extLst>
              <a:ext uri="{FF2B5EF4-FFF2-40B4-BE49-F238E27FC236}">
                <a16:creationId xmlns:a16="http://schemas.microsoft.com/office/drawing/2014/main" id="{1EEB59ED-856C-4646-8080-8164D2973D0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04123" y="2061746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C8F77785-DAC9-4046-8A82-0AC40734117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26CA52-5E8C-4F7B-8989-FAA6AC003B38}" type="datetime4">
              <a:rPr lang="en-US" smtClean="0"/>
              <a:t>March 18, 2025</a:t>
            </a:fld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9675D1FD-FB10-4317-AAF4-BDCB2224F10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23" name="Slide Number Placeholder 10" hidden="1">
            <a:extLst>
              <a:ext uri="{FF2B5EF4-FFF2-40B4-BE49-F238E27FC236}">
                <a16:creationId xmlns:a16="http://schemas.microsoft.com/office/drawing/2014/main" id="{BBF7E881-962B-4385-8C0A-994D3D771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18B3BD4-04BC-40A0-B801-FB79B088402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630227" y="2717408"/>
            <a:ext cx="457143" cy="25714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2F85F92-DA8D-4F17-B8F6-156ECCEFB1E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9379" y="1531396"/>
            <a:ext cx="1678731" cy="110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3977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 bwMode="white"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>
                <a:solidFill>
                  <a:schemeClr val="bg1"/>
                </a:solidFill>
              </a:rPr>
              <a:t>If you see any </a:t>
            </a:r>
            <a:r>
              <a:rPr lang="en-GB" sz="4400" b="1" i="0" noProof="0">
                <a:solidFill>
                  <a:schemeClr val="bg1"/>
                </a:solidFill>
              </a:rPr>
              <a:t>layouts after this one,</a:t>
            </a:r>
            <a:br>
              <a:rPr lang="en-GB" sz="4400" b="0" i="0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>
                <a:solidFill>
                  <a:schemeClr val="bg1"/>
                </a:solidFill>
              </a:rPr>
              <a:t>are not </a:t>
            </a:r>
            <a:br>
              <a:rPr lang="en-GB" sz="4400" b="1" i="0" u="none" noProof="0">
                <a:solidFill>
                  <a:schemeClr val="bg1"/>
                </a:solidFill>
              </a:rPr>
            </a:br>
            <a:r>
              <a:rPr lang="en-GB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>
                <a:solidFill>
                  <a:schemeClr val="bg1"/>
                </a:solidFill>
              </a:rPr>
            </a:br>
            <a:br>
              <a:rPr lang="en-GB" sz="2800" b="0" noProof="0">
                <a:solidFill>
                  <a:schemeClr val="bg1"/>
                </a:solidFill>
              </a:rPr>
            </a:br>
            <a:endParaRPr lang="en-GB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white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white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white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 bwMode="white">
          <a:xfrm>
            <a:off x="430213" y="2588374"/>
            <a:ext cx="1015234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0" b="1" i="0" noProof="0">
                <a:solidFill>
                  <a:schemeClr val="bg1"/>
                </a:solidFill>
              </a:rPr>
              <a:t>Do not use </a:t>
            </a:r>
            <a:endParaRPr lang="en-GB" sz="14000" b="1" i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 bwMode="white"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>
                <a:solidFill>
                  <a:schemeClr val="bg1"/>
                </a:solidFill>
              </a:rPr>
            </a:br>
            <a:endParaRPr lang="en-GB" sz="180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9F47397-FE38-44B6-BCD5-A8CD95BDE2A0}" type="datetime4">
              <a:rPr lang="en-US" smtClean="0"/>
              <a:t>March 18, 2025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E3599075-2776-4465-B2B0-160B219C71F1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81600" y="2903988"/>
            <a:ext cx="11429400" cy="664797"/>
          </a:xfrm>
        </p:spPr>
        <p:txBody>
          <a:bodyPr anchor="ctr" anchorCtr="0">
            <a:spAutoFit/>
          </a:bodyPr>
          <a:lstStyle>
            <a:lvl1pPr algn="ctr"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A0A133EA-1315-493E-9DE6-E0C00717A6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33"/>
          </p:nvPr>
        </p:nvSpPr>
        <p:spPr/>
        <p:txBody>
          <a:bodyPr/>
          <a:lstStyle/>
          <a:p>
            <a:fld id="{9B6511BD-0BF6-4AEC-AFD1-919C5F76EC12}" type="datetime4">
              <a:rPr lang="en-US" smtClean="0"/>
              <a:t>March 18, 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019C2F-0F80-4DED-ADBF-5C239FD4D5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23F5B7-958F-40A2-A429-267AFFBCBE5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4B71125B-BCA5-42F7-BB8D-32C8D15EFA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381609" y="6096189"/>
            <a:ext cx="2083261" cy="38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113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theme" Target="../theme/theme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4DD65DA-6F78-EB0B-D5E1-CF406FEBC3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204" imgH="204" progId="TCLayout.ActiveDocument.1">
                  <p:embed/>
                </p:oleObj>
              </mc:Choice>
              <mc:Fallback>
                <p:oleObj name="think-cell Slide" r:id="rId45" imgW="204" imgH="20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DD65DA-6F78-EB0B-D5E1-CF406FEBC3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0" y="381000"/>
            <a:ext cx="11429400" cy="76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524000"/>
            <a:ext cx="11429400" cy="419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, Avenir Next LT Pro 18 pt</a:t>
            </a:r>
          </a:p>
          <a:p>
            <a:pPr lvl="1"/>
            <a:r>
              <a:rPr lang="en-GB" noProof="0"/>
              <a:t>Level 2, Avenir Next LT Pro 16 pt</a:t>
            </a:r>
          </a:p>
          <a:p>
            <a:pPr lvl="2"/>
            <a:r>
              <a:rPr lang="en-GB" noProof="0"/>
              <a:t>Level 3, Avenir Next LT Pro 18 pt</a:t>
            </a:r>
          </a:p>
          <a:p>
            <a:pPr lvl="3"/>
            <a:r>
              <a:rPr lang="en-GB" noProof="0"/>
              <a:t>Level 4, Header, Avenir Next LT Pro Bold 18 pt</a:t>
            </a:r>
          </a:p>
          <a:p>
            <a:pPr lvl="4"/>
            <a:r>
              <a:rPr lang="en-GB" noProof="0"/>
              <a:t>Level 5, Body, Avenir Next LT Pro 18 pt</a:t>
            </a:r>
          </a:p>
          <a:p>
            <a:pPr lvl="5"/>
            <a:r>
              <a:rPr lang="en-GB" noProof="0"/>
              <a:t>Level 6, Avenir Next LT Pro 14 pt</a:t>
            </a:r>
          </a:p>
          <a:p>
            <a:pPr lvl="6"/>
            <a:r>
              <a:rPr lang="en-GB" noProof="0"/>
              <a:t>Level 7, Small Header, Avenir Next LT Pro Bold 14 pt</a:t>
            </a:r>
          </a:p>
          <a:p>
            <a:pPr lvl="7"/>
            <a:r>
              <a:rPr lang="en-GB" noProof="0"/>
              <a:t>Level 8, Small Body, </a:t>
            </a:r>
            <a:r>
              <a:rPr lang="en-GB"/>
              <a:t>Avenir Next LT Pro 14 pt</a:t>
            </a:r>
            <a:endParaRPr lang="en-GB" noProof="0"/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noFill/>
              </a:defRPr>
            </a:lvl1pPr>
          </a:lstStyle>
          <a:p>
            <a:fld id="{C2B4FD87-F2BD-4CCB-99A4-C88C2C2BC7B1}" type="datetime4">
              <a:rPr lang="en-US" smtClean="0"/>
              <a:t>March 18,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6000" y="6096000"/>
            <a:ext cx="9144000" cy="380400"/>
          </a:xfrm>
          <a:prstGeom prst="rect">
            <a:avLst/>
          </a:prstGeom>
        </p:spPr>
        <p:txBody>
          <a:bodyPr vert="horz" lIns="0" tIns="234000" rIns="0" bIns="0" rtlCol="0" anchor="ctr" anchorCtr="0"/>
          <a:lstStyle>
            <a:lvl1pPr algn="r">
              <a:lnSpc>
                <a:spcPct val="90000"/>
              </a:lnSpc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000" y="6096000"/>
            <a:ext cx="381000" cy="380400"/>
          </a:xfrm>
          <a:prstGeom prst="rect">
            <a:avLst/>
          </a:prstGeom>
        </p:spPr>
        <p:txBody>
          <a:bodyPr vert="horz" lIns="0" tIns="234000" rIns="0" bIns="0" rtlCol="0" anchor="ctr" anchorCtr="0"/>
          <a:lstStyle>
            <a:lvl1pPr algn="r">
              <a:lnSpc>
                <a:spcPct val="9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AB8F26B-B262-492C-B8DF-E62D63782D88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8"/>
              </a:ext>
            </a:extLst>
          </a:blip>
          <a:srcRect/>
          <a:stretch/>
        </p:blipFill>
        <p:spPr>
          <a:xfrm>
            <a:off x="381603" y="6286500"/>
            <a:ext cx="1042141" cy="1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29" r:id="rId3"/>
    <p:sldLayoutId id="2147483798" r:id="rId4"/>
    <p:sldLayoutId id="2147483799" r:id="rId5"/>
    <p:sldLayoutId id="2147483778" r:id="rId6"/>
    <p:sldLayoutId id="2147483777" r:id="rId7"/>
    <p:sldLayoutId id="2147483800" r:id="rId8"/>
    <p:sldLayoutId id="2147483803" r:id="rId9"/>
    <p:sldLayoutId id="2147483804" r:id="rId10"/>
    <p:sldLayoutId id="2147483805" r:id="rId11"/>
    <p:sldLayoutId id="2147483771" r:id="rId12"/>
    <p:sldLayoutId id="2147483807" r:id="rId13"/>
    <p:sldLayoutId id="2147483806" r:id="rId14"/>
    <p:sldLayoutId id="2147483808" r:id="rId15"/>
    <p:sldLayoutId id="2147483732" r:id="rId16"/>
    <p:sldLayoutId id="2147483802" r:id="rId17"/>
    <p:sldLayoutId id="2147483755" r:id="rId18"/>
    <p:sldLayoutId id="2147483757" r:id="rId19"/>
    <p:sldLayoutId id="2147483809" r:id="rId20"/>
    <p:sldLayoutId id="2147483769" r:id="rId21"/>
    <p:sldLayoutId id="2147483815" r:id="rId22"/>
    <p:sldLayoutId id="2147483779" r:id="rId23"/>
    <p:sldLayoutId id="2147483780" r:id="rId24"/>
    <p:sldLayoutId id="2147483781" r:id="rId25"/>
    <p:sldLayoutId id="2147483812" r:id="rId26"/>
    <p:sldLayoutId id="2147483814" r:id="rId27"/>
    <p:sldLayoutId id="2147483813" r:id="rId28"/>
    <p:sldLayoutId id="2147483786" r:id="rId29"/>
    <p:sldLayoutId id="2147483789" r:id="rId30"/>
    <p:sldLayoutId id="2147483790" r:id="rId31"/>
    <p:sldLayoutId id="2147483791" r:id="rId32"/>
    <p:sldLayoutId id="2147483794" r:id="rId33"/>
    <p:sldLayoutId id="2147483792" r:id="rId34"/>
    <p:sldLayoutId id="2147483810" r:id="rId35"/>
    <p:sldLayoutId id="2147483811" r:id="rId36"/>
    <p:sldLayoutId id="2147483784" r:id="rId37"/>
    <p:sldLayoutId id="2147483743" r:id="rId38"/>
    <p:sldLayoutId id="2147483744" r:id="rId39"/>
    <p:sldLayoutId id="2147483760" r:id="rId40"/>
    <p:sldLayoutId id="2147483751" r:id="rId41"/>
    <p:sldLayoutId id="2147483816" r:id="rId42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204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126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venir Next LT Pro" panose="020B05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​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​"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720" userDrawn="1">
          <p15:clr>
            <a:srgbClr val="F26B43"/>
          </p15:clr>
        </p15:guide>
        <p15:guide id="3" orient="horz" pos="240" userDrawn="1">
          <p15:clr>
            <a:srgbClr val="F26B43"/>
          </p15:clr>
        </p15:guide>
        <p15:guide id="4" orient="horz" pos="408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200" userDrawn="1">
          <p15:clr>
            <a:srgbClr val="F26B43"/>
          </p15:clr>
        </p15:guide>
        <p15:guide id="7" pos="1440" userDrawn="1">
          <p15:clr>
            <a:srgbClr val="F26B43"/>
          </p15:clr>
        </p15:guide>
        <p15:guide id="8" pos="1680" userDrawn="1">
          <p15:clr>
            <a:srgbClr val="F26B43"/>
          </p15:clr>
        </p15:guide>
        <p15:guide id="9" pos="1920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00" userDrawn="1">
          <p15:clr>
            <a:srgbClr val="F26B43"/>
          </p15:clr>
        </p15:guide>
        <p15:guide id="12" pos="2640" userDrawn="1">
          <p15:clr>
            <a:srgbClr val="F26B43"/>
          </p15:clr>
        </p15:guide>
        <p15:guide id="13" pos="2880" userDrawn="1">
          <p15:clr>
            <a:srgbClr val="F26B43"/>
          </p15:clr>
        </p15:guide>
        <p15:guide id="14" pos="3120" userDrawn="1">
          <p15:clr>
            <a:srgbClr val="F26B43"/>
          </p15:clr>
        </p15:guide>
        <p15:guide id="15" pos="3360" userDrawn="1">
          <p15:clr>
            <a:srgbClr val="F26B43"/>
          </p15:clr>
        </p15:guide>
        <p15:guide id="16" pos="3600" userDrawn="1">
          <p15:clr>
            <a:srgbClr val="F26B43"/>
          </p15:clr>
        </p15:guide>
        <p15:guide id="17" pos="3840" userDrawn="1">
          <p15:clr>
            <a:srgbClr val="F26B43"/>
          </p15:clr>
        </p15:guide>
        <p15:guide id="18" pos="4080" userDrawn="1">
          <p15:clr>
            <a:srgbClr val="F26B43"/>
          </p15:clr>
        </p15:guide>
        <p15:guide id="19" pos="4320" userDrawn="1">
          <p15:clr>
            <a:srgbClr val="F26B43"/>
          </p15:clr>
        </p15:guide>
        <p15:guide id="20" pos="4560" userDrawn="1">
          <p15:clr>
            <a:srgbClr val="F26B43"/>
          </p15:clr>
        </p15:guide>
        <p15:guide id="21" pos="4800" userDrawn="1">
          <p15:clr>
            <a:srgbClr val="F26B43"/>
          </p15:clr>
        </p15:guide>
        <p15:guide id="22" pos="5040" userDrawn="1">
          <p15:clr>
            <a:srgbClr val="F26B43"/>
          </p15:clr>
        </p15:guide>
        <p15:guide id="23" pos="5280" userDrawn="1">
          <p15:clr>
            <a:srgbClr val="F26B43"/>
          </p15:clr>
        </p15:guide>
        <p15:guide id="24" pos="5520" userDrawn="1">
          <p15:clr>
            <a:srgbClr val="F26B43"/>
          </p15:clr>
        </p15:guide>
        <p15:guide id="25" pos="5760" userDrawn="1">
          <p15:clr>
            <a:srgbClr val="F26B43"/>
          </p15:clr>
        </p15:guide>
        <p15:guide id="26" pos="6000" userDrawn="1">
          <p15:clr>
            <a:srgbClr val="F26B43"/>
          </p15:clr>
        </p15:guide>
        <p15:guide id="27" pos="6240" userDrawn="1">
          <p15:clr>
            <a:srgbClr val="F26B43"/>
          </p15:clr>
        </p15:guide>
        <p15:guide id="28" pos="6480" userDrawn="1">
          <p15:clr>
            <a:srgbClr val="F26B43"/>
          </p15:clr>
        </p15:guide>
        <p15:guide id="29" pos="7200" userDrawn="1">
          <p15:clr>
            <a:srgbClr val="F26B43"/>
          </p15:clr>
        </p15:guide>
        <p15:guide id="30" pos="7440" userDrawn="1">
          <p15:clr>
            <a:srgbClr val="F26B43"/>
          </p15:clr>
        </p15:guide>
        <p15:guide id="31" pos="239" userDrawn="1">
          <p15:clr>
            <a:srgbClr val="F26B43"/>
          </p15:clr>
        </p15:guide>
        <p15:guide id="32" orient="horz" pos="480" userDrawn="1">
          <p15:clr>
            <a:srgbClr val="F26B43"/>
          </p15:clr>
        </p15:guide>
        <p15:guide id="33" orient="horz" pos="720" userDrawn="1">
          <p15:clr>
            <a:srgbClr val="F26B43"/>
          </p15:clr>
        </p15:guide>
        <p15:guide id="34" orient="horz" pos="960" userDrawn="1">
          <p15:clr>
            <a:srgbClr val="F26B43"/>
          </p15:clr>
        </p15:guide>
        <p15:guide id="35" orient="horz" pos="1200" userDrawn="1">
          <p15:clr>
            <a:srgbClr val="F26B43"/>
          </p15:clr>
        </p15:guide>
        <p15:guide id="36" orient="horz" pos="1920" userDrawn="1">
          <p15:clr>
            <a:srgbClr val="F26B43"/>
          </p15:clr>
        </p15:guide>
        <p15:guide id="37" orient="horz" pos="2160" userDrawn="1">
          <p15:clr>
            <a:srgbClr val="F26B43"/>
          </p15:clr>
        </p15:guide>
        <p15:guide id="38" orient="horz" pos="2400" userDrawn="1">
          <p15:clr>
            <a:srgbClr val="F26B43"/>
          </p15:clr>
        </p15:guide>
        <p15:guide id="39" orient="horz" pos="2640" userDrawn="1">
          <p15:clr>
            <a:srgbClr val="F26B43"/>
          </p15:clr>
        </p15:guide>
        <p15:guide id="40" orient="horz" pos="2880" userDrawn="1">
          <p15:clr>
            <a:srgbClr val="F26B43"/>
          </p15:clr>
        </p15:guide>
        <p15:guide id="41" orient="horz" pos="3120" userDrawn="1">
          <p15:clr>
            <a:srgbClr val="F26B43"/>
          </p15:clr>
        </p15:guide>
        <p15:guide id="42" orient="horz" pos="3360" userDrawn="1">
          <p15:clr>
            <a:srgbClr val="F26B43"/>
          </p15:clr>
        </p15:guide>
        <p15:guide id="43" orient="horz" pos="3600" userDrawn="1">
          <p15:clr>
            <a:srgbClr val="F26B43"/>
          </p15:clr>
        </p15:guide>
        <p15:guide id="44" pos="6720" userDrawn="1">
          <p15:clr>
            <a:srgbClr val="F26B43"/>
          </p15:clr>
        </p15:guide>
        <p15:guide id="45" pos="6960" userDrawn="1">
          <p15:clr>
            <a:srgbClr val="F26B43"/>
          </p15:clr>
        </p15:guide>
        <p15:guide id="46" orient="horz" pos="1440" userDrawn="1">
          <p15:clr>
            <a:srgbClr val="F26B43"/>
          </p15:clr>
        </p15:guide>
        <p15:guide id="47" orient="horz" pos="1680" userDrawn="1">
          <p15:clr>
            <a:srgbClr val="F26B43"/>
          </p15:clr>
        </p15:guide>
        <p15:guide id="48" orient="horz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28BE24A-E0CF-74C7-D44F-DA92BB2FB2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541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06" imgH="306" progId="TCLayout.ActiveDocument.1">
                  <p:embed/>
                </p:oleObj>
              </mc:Choice>
              <mc:Fallback>
                <p:oleObj name="think-cell Slide" r:id="rId44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8BE24A-E0CF-74C7-D44F-DA92BB2FB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0" y="381000"/>
            <a:ext cx="11429400" cy="76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524000"/>
            <a:ext cx="11429400" cy="4190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, Avenir Next LT Pro 18 pt</a:t>
            </a:r>
          </a:p>
          <a:p>
            <a:pPr lvl="1"/>
            <a:r>
              <a:rPr lang="en-GB" noProof="0"/>
              <a:t>Level 2, Avenir Next LT Pro 16 pt</a:t>
            </a:r>
          </a:p>
          <a:p>
            <a:pPr lvl="2"/>
            <a:r>
              <a:rPr lang="en-GB" noProof="0"/>
              <a:t>Level 3, Avenir Next LT Pro 18 pt</a:t>
            </a:r>
          </a:p>
          <a:p>
            <a:pPr lvl="3"/>
            <a:r>
              <a:rPr lang="en-GB" noProof="0"/>
              <a:t>Level 4, Header, Avenir Next LT Pro Bold 18 pt</a:t>
            </a:r>
          </a:p>
          <a:p>
            <a:pPr lvl="4"/>
            <a:r>
              <a:rPr lang="en-GB" noProof="0"/>
              <a:t>Level 5, Body, Avenir Next LT Pro 18 pt</a:t>
            </a:r>
          </a:p>
          <a:p>
            <a:pPr lvl="5"/>
            <a:r>
              <a:rPr lang="en-GB" noProof="0"/>
              <a:t>Level 6, Avenir Next LT Pro 14 pt</a:t>
            </a:r>
          </a:p>
          <a:p>
            <a:pPr lvl="6"/>
            <a:r>
              <a:rPr lang="en-GB" noProof="0"/>
              <a:t>Level 7, Small Header, Avenir Next LT Pro Bold 14 pt</a:t>
            </a:r>
          </a:p>
          <a:p>
            <a:pPr lvl="7"/>
            <a:r>
              <a:rPr lang="en-GB" noProof="0"/>
              <a:t>Level 8, Small Body, </a:t>
            </a:r>
            <a:r>
              <a:rPr lang="en-GB"/>
              <a:t>Avenir Next LT Pro 14 pt</a:t>
            </a:r>
            <a:endParaRPr lang="en-GB" noProof="0"/>
          </a:p>
          <a:p>
            <a:pPr lvl="8"/>
            <a:r>
              <a:rPr lang="en-GB" noProof="0"/>
              <a:t>Level 9, Infographic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noFill/>
              </a:defRPr>
            </a:lvl1pPr>
          </a:lstStyle>
          <a:p>
            <a:fld id="{2532A610-8D7D-45ED-83E2-703836616C8B}" type="datetime4">
              <a:rPr lang="en-US" smtClean="0"/>
              <a:t>March 18, 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86000" y="6096000"/>
            <a:ext cx="9144000" cy="380400"/>
          </a:xfrm>
          <a:prstGeom prst="rect">
            <a:avLst/>
          </a:prstGeom>
        </p:spPr>
        <p:txBody>
          <a:bodyPr vert="horz" lIns="0" tIns="234000" rIns="0" bIns="0" rtlCol="0" anchor="ctr" anchorCtr="0"/>
          <a:lstStyle>
            <a:lvl1pPr algn="r">
              <a:lnSpc>
                <a:spcPct val="90000"/>
              </a:lnSpc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000" y="6096000"/>
            <a:ext cx="381000" cy="380400"/>
          </a:xfrm>
          <a:prstGeom prst="rect">
            <a:avLst/>
          </a:prstGeom>
        </p:spPr>
        <p:txBody>
          <a:bodyPr vert="horz" lIns="0" tIns="234000" rIns="0" bIns="0" rtlCol="0" anchor="ctr" anchorCtr="0"/>
          <a:lstStyle>
            <a:lvl1pPr algn="r">
              <a:lnSpc>
                <a:spcPct val="9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AB8F26B-B262-492C-B8DF-E62D63782D88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rcRect/>
          <a:stretch/>
        </p:blipFill>
        <p:spPr>
          <a:xfrm>
            <a:off x="381603" y="6286500"/>
            <a:ext cx="1042141" cy="19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  <p:sldLayoutId id="2147484366" r:id="rId13"/>
    <p:sldLayoutId id="2147484367" r:id="rId14"/>
    <p:sldLayoutId id="2147484368" r:id="rId15"/>
    <p:sldLayoutId id="2147484369" r:id="rId16"/>
    <p:sldLayoutId id="2147484370" r:id="rId17"/>
    <p:sldLayoutId id="2147484371" r:id="rId18"/>
    <p:sldLayoutId id="2147484372" r:id="rId19"/>
    <p:sldLayoutId id="2147484373" r:id="rId20"/>
    <p:sldLayoutId id="2147484374" r:id="rId21"/>
    <p:sldLayoutId id="2147484375" r:id="rId22"/>
    <p:sldLayoutId id="2147484376" r:id="rId23"/>
    <p:sldLayoutId id="2147484377" r:id="rId24"/>
    <p:sldLayoutId id="2147484378" r:id="rId25"/>
    <p:sldLayoutId id="2147484379" r:id="rId26"/>
    <p:sldLayoutId id="2147484380" r:id="rId27"/>
    <p:sldLayoutId id="2147484381" r:id="rId28"/>
    <p:sldLayoutId id="2147484382" r:id="rId29"/>
    <p:sldLayoutId id="2147484383" r:id="rId30"/>
    <p:sldLayoutId id="2147484384" r:id="rId31"/>
    <p:sldLayoutId id="2147484385" r:id="rId32"/>
    <p:sldLayoutId id="2147484386" r:id="rId33"/>
    <p:sldLayoutId id="2147484387" r:id="rId34"/>
    <p:sldLayoutId id="2147484388" r:id="rId35"/>
    <p:sldLayoutId id="2147484389" r:id="rId36"/>
    <p:sldLayoutId id="2147484390" r:id="rId37"/>
    <p:sldLayoutId id="2147484391" r:id="rId38"/>
    <p:sldLayoutId id="2147484392" r:id="rId39"/>
    <p:sldLayoutId id="2147484393" r:id="rId40"/>
    <p:sldLayoutId id="2147484394" r:id="rId41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6400" indent="-176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204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60800" indent="-126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venir Next LT Pro" panose="020B05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​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4000" indent="-144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600"/>
        </a:spcAft>
        <a:buFont typeface="Arial" panose="020B0604020202020204" pitchFamily="34" charset="0"/>
        <a:buChar char="​"/>
        <a:defRPr sz="14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4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80" userDrawn="1">
          <p15:clr>
            <a:srgbClr val="F26B43"/>
          </p15:clr>
        </p15:guide>
        <p15:guide id="2" pos="720" userDrawn="1">
          <p15:clr>
            <a:srgbClr val="F26B43"/>
          </p15:clr>
        </p15:guide>
        <p15:guide id="3" orient="horz" pos="240" userDrawn="1">
          <p15:clr>
            <a:srgbClr val="F26B43"/>
          </p15:clr>
        </p15:guide>
        <p15:guide id="4" orient="horz" pos="408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200" userDrawn="1">
          <p15:clr>
            <a:srgbClr val="F26B43"/>
          </p15:clr>
        </p15:guide>
        <p15:guide id="7" pos="1440" userDrawn="1">
          <p15:clr>
            <a:srgbClr val="F26B43"/>
          </p15:clr>
        </p15:guide>
        <p15:guide id="8" pos="1680" userDrawn="1">
          <p15:clr>
            <a:srgbClr val="F26B43"/>
          </p15:clr>
        </p15:guide>
        <p15:guide id="9" pos="1920" userDrawn="1">
          <p15:clr>
            <a:srgbClr val="F26B43"/>
          </p15:clr>
        </p15:guide>
        <p15:guide id="10" pos="2160" userDrawn="1">
          <p15:clr>
            <a:srgbClr val="F26B43"/>
          </p15:clr>
        </p15:guide>
        <p15:guide id="11" pos="2400" userDrawn="1">
          <p15:clr>
            <a:srgbClr val="F26B43"/>
          </p15:clr>
        </p15:guide>
        <p15:guide id="12" pos="2640" userDrawn="1">
          <p15:clr>
            <a:srgbClr val="F26B43"/>
          </p15:clr>
        </p15:guide>
        <p15:guide id="13" pos="2880" userDrawn="1">
          <p15:clr>
            <a:srgbClr val="F26B43"/>
          </p15:clr>
        </p15:guide>
        <p15:guide id="14" pos="3120" userDrawn="1">
          <p15:clr>
            <a:srgbClr val="F26B43"/>
          </p15:clr>
        </p15:guide>
        <p15:guide id="15" pos="3360" userDrawn="1">
          <p15:clr>
            <a:srgbClr val="F26B43"/>
          </p15:clr>
        </p15:guide>
        <p15:guide id="16" pos="3600" userDrawn="1">
          <p15:clr>
            <a:srgbClr val="F26B43"/>
          </p15:clr>
        </p15:guide>
        <p15:guide id="17" pos="3840" userDrawn="1">
          <p15:clr>
            <a:srgbClr val="F26B43"/>
          </p15:clr>
        </p15:guide>
        <p15:guide id="18" pos="4080" userDrawn="1">
          <p15:clr>
            <a:srgbClr val="F26B43"/>
          </p15:clr>
        </p15:guide>
        <p15:guide id="19" pos="4320" userDrawn="1">
          <p15:clr>
            <a:srgbClr val="F26B43"/>
          </p15:clr>
        </p15:guide>
        <p15:guide id="20" pos="4560" userDrawn="1">
          <p15:clr>
            <a:srgbClr val="F26B43"/>
          </p15:clr>
        </p15:guide>
        <p15:guide id="21" pos="4800" userDrawn="1">
          <p15:clr>
            <a:srgbClr val="F26B43"/>
          </p15:clr>
        </p15:guide>
        <p15:guide id="22" pos="5040" userDrawn="1">
          <p15:clr>
            <a:srgbClr val="F26B43"/>
          </p15:clr>
        </p15:guide>
        <p15:guide id="23" pos="5280" userDrawn="1">
          <p15:clr>
            <a:srgbClr val="F26B43"/>
          </p15:clr>
        </p15:guide>
        <p15:guide id="24" pos="5520" userDrawn="1">
          <p15:clr>
            <a:srgbClr val="F26B43"/>
          </p15:clr>
        </p15:guide>
        <p15:guide id="25" pos="5760" userDrawn="1">
          <p15:clr>
            <a:srgbClr val="F26B43"/>
          </p15:clr>
        </p15:guide>
        <p15:guide id="26" pos="6000" userDrawn="1">
          <p15:clr>
            <a:srgbClr val="F26B43"/>
          </p15:clr>
        </p15:guide>
        <p15:guide id="27" pos="6240" userDrawn="1">
          <p15:clr>
            <a:srgbClr val="F26B43"/>
          </p15:clr>
        </p15:guide>
        <p15:guide id="28" pos="6480" userDrawn="1">
          <p15:clr>
            <a:srgbClr val="F26B43"/>
          </p15:clr>
        </p15:guide>
        <p15:guide id="29" pos="7200" userDrawn="1">
          <p15:clr>
            <a:srgbClr val="F26B43"/>
          </p15:clr>
        </p15:guide>
        <p15:guide id="30" pos="7440" userDrawn="1">
          <p15:clr>
            <a:srgbClr val="F26B43"/>
          </p15:clr>
        </p15:guide>
        <p15:guide id="31" pos="239" userDrawn="1">
          <p15:clr>
            <a:srgbClr val="F26B43"/>
          </p15:clr>
        </p15:guide>
        <p15:guide id="32" orient="horz" pos="480" userDrawn="1">
          <p15:clr>
            <a:srgbClr val="F26B43"/>
          </p15:clr>
        </p15:guide>
        <p15:guide id="33" orient="horz" pos="720" userDrawn="1">
          <p15:clr>
            <a:srgbClr val="F26B43"/>
          </p15:clr>
        </p15:guide>
        <p15:guide id="34" orient="horz" pos="960" userDrawn="1">
          <p15:clr>
            <a:srgbClr val="F26B43"/>
          </p15:clr>
        </p15:guide>
        <p15:guide id="35" orient="horz" pos="1200" userDrawn="1">
          <p15:clr>
            <a:srgbClr val="F26B43"/>
          </p15:clr>
        </p15:guide>
        <p15:guide id="36" orient="horz" pos="1920" userDrawn="1">
          <p15:clr>
            <a:srgbClr val="F26B43"/>
          </p15:clr>
        </p15:guide>
        <p15:guide id="37" orient="horz" pos="2160" userDrawn="1">
          <p15:clr>
            <a:srgbClr val="F26B43"/>
          </p15:clr>
        </p15:guide>
        <p15:guide id="38" orient="horz" pos="2400" userDrawn="1">
          <p15:clr>
            <a:srgbClr val="F26B43"/>
          </p15:clr>
        </p15:guide>
        <p15:guide id="39" orient="horz" pos="2640" userDrawn="1">
          <p15:clr>
            <a:srgbClr val="F26B43"/>
          </p15:clr>
        </p15:guide>
        <p15:guide id="40" orient="horz" pos="2880" userDrawn="1">
          <p15:clr>
            <a:srgbClr val="F26B43"/>
          </p15:clr>
        </p15:guide>
        <p15:guide id="41" orient="horz" pos="3120" userDrawn="1">
          <p15:clr>
            <a:srgbClr val="F26B43"/>
          </p15:clr>
        </p15:guide>
        <p15:guide id="42" orient="horz" pos="3360" userDrawn="1">
          <p15:clr>
            <a:srgbClr val="F26B43"/>
          </p15:clr>
        </p15:guide>
        <p15:guide id="43" orient="horz" pos="3600" userDrawn="1">
          <p15:clr>
            <a:srgbClr val="F26B43"/>
          </p15:clr>
        </p15:guide>
        <p15:guide id="44" pos="6720" userDrawn="1">
          <p15:clr>
            <a:srgbClr val="F26B43"/>
          </p15:clr>
        </p15:guide>
        <p15:guide id="45" pos="6960" userDrawn="1">
          <p15:clr>
            <a:srgbClr val="F26B43"/>
          </p15:clr>
        </p15:guide>
        <p15:guide id="46" orient="horz" pos="1440" userDrawn="1">
          <p15:clr>
            <a:srgbClr val="F26B43"/>
          </p15:clr>
        </p15:guide>
        <p15:guide id="47" orient="horz" pos="1680" userDrawn="1">
          <p15:clr>
            <a:srgbClr val="F26B43"/>
          </p15:clr>
        </p15:guide>
        <p15:guide id="48" orient="horz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0.xml"/><Relationship Id="rId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1.xml"/><Relationship Id="rId4" Type="http://schemas.openxmlformats.org/officeDocument/2006/relationships/image" Target="../media/image34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20.pn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tags" Target="../tags/tag5.xml"/><Relationship Id="rId16" Type="http://schemas.openxmlformats.org/officeDocument/2006/relationships/image" Target="../media/image23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18.jpeg"/><Relationship Id="rId5" Type="http://schemas.openxmlformats.org/officeDocument/2006/relationships/tags" Target="../tags/tag8.xml"/><Relationship Id="rId15" Type="http://schemas.openxmlformats.org/officeDocument/2006/relationships/image" Target="../media/image22.png"/><Relationship Id="rId10" Type="http://schemas.openxmlformats.org/officeDocument/2006/relationships/image" Target="../media/image1.emf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Relationship Id="rId1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0392299-6C5A-2372-57DA-E3483C93AF6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79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392299-6C5A-2372-57DA-E3483C93AF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9" descr="A low angle view of a building&#10;&#10;Description automatically generated">
            <a:extLst>
              <a:ext uri="{FF2B5EF4-FFF2-40B4-BE49-F238E27FC236}">
                <a16:creationId xmlns:a16="http://schemas.microsoft.com/office/drawing/2014/main" id="{49066548-820A-0A65-A69A-D14287769BF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7" t="7314" b="30059"/>
          <a:stretch/>
        </p:blipFill>
        <p:spPr>
          <a:xfrm flipH="1">
            <a:off x="0" y="0"/>
            <a:ext cx="12193200" cy="4572000"/>
          </a:xfr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07819479-02D0-289F-6F62-936C714450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833F962-3893-6628-8A38-5F426F4B876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pPr>
              <a:spcAft>
                <a:spcPts val="1200"/>
              </a:spcAft>
            </a:pPr>
            <a:r>
              <a:rPr lang="en-GB" dirty="0"/>
              <a:t>How to get to big scale renovations </a:t>
            </a:r>
            <a:endParaRPr lang="pl-P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13C21B-E7FB-4527-9944-60E581C94B3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sz="2800" dirty="0"/>
              <a:t>Mirella Vitale – Senior Vice President</a:t>
            </a:r>
            <a:r>
              <a:rPr lang="da-DK" dirty="0"/>
              <a:t> </a:t>
            </a:r>
            <a:r>
              <a:rPr lang="da-DK" sz="2800" dirty="0"/>
              <a:t>ROCKWOOL Group</a:t>
            </a:r>
            <a:endParaRPr lang="pl-PL" sz="28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4FFB731-5ACE-C93E-E42C-791BE564608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2E28E0C-0CEC-5C70-6C15-582EEED2F8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100748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21B83-4CEC-C19A-A636-35CB80FD8C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495244-F4F8-8FAC-68BD-10C82E2DF1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413" y="762000"/>
            <a:ext cx="4776247" cy="4396596"/>
          </a:xfrm>
        </p:spPr>
        <p:txBody>
          <a:bodyPr vert="horz" lIns="0" tIns="0" rIns="360000" bIns="0" rtlCol="0" anchor="t">
            <a:noAutofit/>
          </a:bodyPr>
          <a:lstStyle/>
          <a:p>
            <a:pPr marL="0" indent="0">
              <a:lnSpc>
                <a:spcPct val="100000"/>
              </a:lnSpc>
              <a:spcAft>
                <a:spcPts val="2400"/>
              </a:spcAft>
              <a:buNone/>
            </a:pPr>
            <a:r>
              <a:rPr lang="en-US" sz="3600" dirty="0">
                <a:solidFill>
                  <a:schemeClr val="accent4"/>
                </a:solidFill>
              </a:rPr>
              <a:t>Delivering </a:t>
            </a:r>
            <a:br>
              <a:rPr lang="en-US" sz="3600" dirty="0">
                <a:solidFill>
                  <a:schemeClr val="accent4"/>
                </a:solidFill>
              </a:rPr>
            </a:br>
            <a:r>
              <a:rPr lang="en-US" sz="3600" dirty="0">
                <a:solidFill>
                  <a:schemeClr val="accent4"/>
                </a:solidFill>
              </a:rPr>
              <a:t>the just transition</a:t>
            </a:r>
            <a:endParaRPr lang="pl-PL" sz="3600" dirty="0">
              <a:solidFill>
                <a:schemeClr val="accent4"/>
              </a:solidFill>
            </a:endParaRPr>
          </a:p>
          <a:p>
            <a:pPr marL="0" indent="0">
              <a:lnSpc>
                <a:spcPct val="100000"/>
              </a:lnSpc>
              <a:spcAft>
                <a:spcPts val="2400"/>
              </a:spcAft>
              <a:buNone/>
            </a:pPr>
            <a:r>
              <a:rPr lang="en-US" sz="3600" dirty="0"/>
              <a:t>The EPBD means renovating over </a:t>
            </a:r>
            <a:r>
              <a:rPr lang="en-US" sz="3600" b="1" dirty="0"/>
              <a:t>25m</a:t>
            </a:r>
            <a:r>
              <a:rPr lang="en-US" sz="3600" dirty="0"/>
              <a:t> homes in five years</a:t>
            </a:r>
            <a:endParaRPr lang="pl-PL" sz="3600" dirty="0">
              <a:solidFill>
                <a:srgbClr val="D20014"/>
              </a:solidFill>
            </a:endParaRPr>
          </a:p>
          <a:p>
            <a:pPr marL="0" indent="0">
              <a:lnSpc>
                <a:spcPct val="100000"/>
              </a:lnSpc>
              <a:spcAft>
                <a:spcPts val="2400"/>
              </a:spcAft>
              <a:buNone/>
            </a:pPr>
            <a:r>
              <a:rPr lang="en-US" sz="2800" dirty="0">
                <a:solidFill>
                  <a:schemeClr val="accent4"/>
                </a:solidFill>
              </a:rPr>
              <a:t>The result: </a:t>
            </a:r>
            <a:r>
              <a:rPr lang="en-US" sz="2800" dirty="0"/>
              <a:t>better housing </a:t>
            </a:r>
            <a:br>
              <a:rPr lang="en-US" sz="2800" dirty="0"/>
            </a:br>
            <a:r>
              <a:rPr lang="en-US" sz="2800" dirty="0"/>
              <a:t>and living standards for </a:t>
            </a:r>
            <a:br>
              <a:rPr lang="en-US" sz="2800" dirty="0"/>
            </a:br>
            <a:r>
              <a:rPr lang="en-US" sz="2800" dirty="0"/>
              <a:t>more than 50m Europeans</a:t>
            </a:r>
            <a:endParaRPr lang="pl-PL" sz="2800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E1FF4EB0-B54A-758F-060F-8DB955A4823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7" t="10" b="10"/>
          <a:stretch/>
        </p:blipFill>
        <p:spPr>
          <a:xfrm>
            <a:off x="5334000" y="0"/>
            <a:ext cx="6859588" cy="5715000"/>
          </a:xfr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AA52FC-BD69-C788-38A7-71776E0BFEC6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 dirty="0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C04BA20-F744-82E3-FB3B-2B0A970814F1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37F463-D13E-DB60-BDC5-712717E776A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143200" y="4191000"/>
            <a:ext cx="381600" cy="1143000"/>
          </a:xfrm>
          <a:solidFill>
            <a:schemeClr val="accent4"/>
          </a:solidFill>
        </p:spPr>
        <p:txBody>
          <a:bodyPr/>
          <a:lstStyle/>
          <a:p>
            <a:endParaRPr lang="pl-PL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F45D13-7490-02B3-A3F8-8344E413BDDF}"/>
              </a:ext>
            </a:extLst>
          </p:cNvPr>
          <p:cNvSpPr/>
          <p:nvPr/>
        </p:nvSpPr>
        <p:spPr>
          <a:xfrm>
            <a:off x="8626414" y="4196857"/>
            <a:ext cx="3184585" cy="1899143"/>
          </a:xfrm>
          <a:prstGeom prst="rect">
            <a:avLst/>
          </a:prstGeom>
          <a:solidFill>
            <a:schemeClr val="accent4"/>
          </a:solidFill>
          <a:ln w="38100">
            <a:noFill/>
          </a:ln>
        </p:spPr>
        <p:txBody>
          <a:bodyPr wrap="square" lIns="180000" tIns="180000" rIns="180000" bIns="180000" anchor="ctr">
            <a:noAutofit/>
          </a:bodyPr>
          <a:lstStyle/>
          <a:p>
            <a:pPr algn="r" defTabSz="914354">
              <a:lnSpc>
                <a:spcPct val="85000"/>
              </a:lnSpc>
              <a:buClr>
                <a:srgbClr val="000000"/>
              </a:buClr>
              <a:defRPr/>
            </a:pPr>
            <a:r>
              <a:rPr lang="en-GB" sz="6600" b="1" dirty="0">
                <a:solidFill>
                  <a:srgbClr val="FFFFFF"/>
                </a:solidFill>
              </a:rPr>
              <a:t>46m</a:t>
            </a:r>
          </a:p>
          <a:p>
            <a:pPr algn="r">
              <a:spcAft>
                <a:spcPts val="0"/>
              </a:spcAft>
            </a:pPr>
            <a:r>
              <a:rPr lang="en-GB" sz="1600" dirty="0">
                <a:solidFill>
                  <a:schemeClr val="bg1">
                    <a:lumMod val="95000"/>
                  </a:schemeClr>
                </a:solidFill>
                <a:ea typeface="Calibri" panose="020F0502020204030204" pitchFamily="34" charset="0"/>
              </a:rPr>
              <a:t>EU citizens are unable to keep their homes adequately warm</a:t>
            </a:r>
            <a:endParaRPr lang="en-GB" sz="1600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3363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88780-FF05-68D1-F7A9-1CAD443A6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99" y="381000"/>
            <a:ext cx="6854521" cy="763200"/>
          </a:xfrm>
        </p:spPr>
        <p:txBody>
          <a:bodyPr anchor="t">
            <a:normAutofit/>
          </a:bodyPr>
          <a:lstStyle/>
          <a:p>
            <a:r>
              <a:rPr lang="en-GB" dirty="0"/>
              <a:t>Buildings legislation – </a:t>
            </a:r>
            <a:br>
              <a:rPr lang="en-GB" dirty="0"/>
            </a:br>
            <a:r>
              <a:rPr lang="en-GB" dirty="0"/>
              <a:t>from deal to on-the-ground delivery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2CAD3E-8AF8-42C9-3D8C-EC081269D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1289538"/>
            <a:ext cx="6857400" cy="4805680"/>
          </a:xfrm>
        </p:spPr>
        <p:txBody>
          <a:bodyPr vert="horz" lIns="0" tIns="0" rIns="360000" bIns="0" rtlCol="0" anchor="t">
            <a:noAutofit/>
          </a:bodyPr>
          <a:lstStyle/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 err="1"/>
              <a:t>Prioritise</a:t>
            </a:r>
            <a:r>
              <a:rPr lang="en-US" b="1" dirty="0"/>
              <a:t> implementation:</a:t>
            </a:r>
            <a:r>
              <a:rPr lang="en-US" dirty="0"/>
              <a:t> Member States' renovation plans will be a blueprint for scaling up national </a:t>
            </a:r>
            <a:r>
              <a:rPr lang="en-US" dirty="0" err="1"/>
              <a:t>programmes</a:t>
            </a:r>
            <a:r>
              <a:rPr lang="en-US" dirty="0"/>
              <a:t> to meet the EPBD goals.</a:t>
            </a:r>
            <a:endParaRPr lang="en-US" b="1" dirty="0"/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Comprehensive renovations: </a:t>
            </a:r>
            <a:r>
              <a:rPr lang="en-US" dirty="0"/>
              <a:t>Going for deeper renovations will deliver bigger socio-economic and climate benefits and increase consumer and business support. </a:t>
            </a:r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Finance:</a:t>
            </a:r>
            <a:r>
              <a:rPr lang="en-US" dirty="0"/>
              <a:t> Better coordinate the different sources of public-private finance and 'crowd in' low interest lending alongside grants and capital rebates.</a:t>
            </a:r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Delivery capacity:</a:t>
            </a:r>
            <a:r>
              <a:rPr lang="en-US" dirty="0"/>
              <a:t>  Increase planning and staff capacity in ministries and local authorities, together with training for project developers and construction workers.</a:t>
            </a:r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Backing winners: </a:t>
            </a:r>
            <a:r>
              <a:rPr lang="en-US" dirty="0"/>
              <a:t>Help European companies with proven </a:t>
            </a:r>
            <a:r>
              <a:rPr lang="en-US" dirty="0" err="1"/>
              <a:t>decarbonisation</a:t>
            </a:r>
            <a:r>
              <a:rPr lang="en-US" dirty="0"/>
              <a:t> technologies to scale up their investments.</a:t>
            </a:r>
          </a:p>
          <a:p>
            <a:pPr marL="179705" indent="-179705">
              <a:lnSpc>
                <a:spcPct val="100000"/>
              </a:lnSpc>
              <a:spcAft>
                <a:spcPts val="0"/>
              </a:spcAft>
            </a:pPr>
            <a:endParaRPr lang="en-US" b="1" dirty="0"/>
          </a:p>
          <a:p>
            <a:pPr marL="179705" indent="-179705">
              <a:lnSpc>
                <a:spcPct val="100000"/>
              </a:lnSpc>
              <a:spcAft>
                <a:spcPts val="0"/>
              </a:spcAft>
            </a:pPr>
            <a:endParaRPr lang="en-US" dirty="0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51F85FD7-B5DB-43FC-ECBC-A18BDE2AD322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00" r="21000"/>
          <a:stretch/>
        </p:blipFill>
        <p:spPr>
          <a:xfrm>
            <a:off x="7621440" y="0"/>
            <a:ext cx="4571520" cy="5714400"/>
          </a:xfrm>
          <a:prstGeom prst="rect">
            <a:avLst/>
          </a:prstGeom>
          <a:noFill/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2DF3CB-A833-C95F-8FDB-FCFA68F9224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430000" y="6096000"/>
            <a:ext cx="381000" cy="380400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7D8DDA7-D743-8480-994A-E6FC8476E06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30400" y="3810000"/>
            <a:ext cx="381600" cy="1524000"/>
          </a:xfrm>
          <a:solidFill>
            <a:schemeClr val="accent4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72B1C7-1AE9-2AA4-99C0-64CCA07AF25A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</p:spTree>
    <p:extLst>
      <p:ext uri="{BB962C8B-B14F-4D97-AF65-F5344CB8AC3E}">
        <p14:creationId xmlns:p14="http://schemas.microsoft.com/office/powerpoint/2010/main" val="5729671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98591A-9981-62CD-61B3-DE784771A9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D2CAEB-3D49-D9EA-5BD4-91D996B709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412" y="762001"/>
            <a:ext cx="6265541" cy="4026278"/>
          </a:xfrm>
        </p:spPr>
        <p:txBody>
          <a:bodyPr vert="horz" lIns="0" tIns="0" rIns="360000" bIns="0" rtlCol="0" anchor="t">
            <a:noAutofit/>
          </a:bodyPr>
          <a:lstStyle/>
          <a:p>
            <a:pPr marL="0" indent="0">
              <a:lnSpc>
                <a:spcPct val="100000"/>
              </a:lnSpc>
              <a:spcAft>
                <a:spcPts val="4800"/>
              </a:spcAft>
              <a:buNone/>
            </a:pPr>
            <a:r>
              <a:rPr lang="en-US" sz="3600" dirty="0"/>
              <a:t>A key priority now for industrial companies </a:t>
            </a:r>
            <a:br>
              <a:rPr lang="en-US" sz="3600" dirty="0"/>
            </a:br>
            <a:r>
              <a:rPr lang="en-US" sz="3600" dirty="0"/>
              <a:t>like ROCKWOOL is </a:t>
            </a:r>
            <a:br>
              <a:rPr lang="en-US" sz="3600" dirty="0"/>
            </a:br>
            <a:r>
              <a:rPr lang="en-US" sz="3600" dirty="0"/>
              <a:t>to decide how much </a:t>
            </a:r>
            <a:br>
              <a:rPr lang="en-US" sz="3600" dirty="0"/>
            </a:br>
            <a:r>
              <a:rPr lang="en-US" sz="3600" b="1" dirty="0"/>
              <a:t>new production</a:t>
            </a:r>
            <a:r>
              <a:rPr lang="en-US" sz="3600" dirty="0"/>
              <a:t> </a:t>
            </a:r>
            <a:br>
              <a:rPr lang="en-US" sz="3600" dirty="0"/>
            </a:br>
            <a:r>
              <a:rPr lang="en-US" sz="3600" dirty="0"/>
              <a:t>to build in Europ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2400" dirty="0">
                <a:solidFill>
                  <a:srgbClr val="1AB092"/>
                </a:solidFill>
              </a:rPr>
              <a:t>Legislative certainty </a:t>
            </a:r>
            <a:r>
              <a:rPr lang="en-US" sz="2400" dirty="0"/>
              <a:t>is essential </a:t>
            </a:r>
            <a:br>
              <a:rPr lang="en-US" sz="2400" dirty="0"/>
            </a:br>
            <a:r>
              <a:rPr lang="en-US" sz="2400" dirty="0"/>
              <a:t>to increase investments and deliver </a:t>
            </a:r>
            <a:br>
              <a:rPr lang="en-US" sz="2400" dirty="0"/>
            </a:br>
            <a:r>
              <a:rPr lang="en-US" sz="2400" dirty="0"/>
              <a:t>the renovation goals </a:t>
            </a:r>
          </a:p>
          <a:p>
            <a:pPr marL="0" indent="0">
              <a:lnSpc>
                <a:spcPct val="100000"/>
              </a:lnSpc>
              <a:buNone/>
            </a:pPr>
            <a:endParaRPr lang="en-US" sz="2000" b="1" dirty="0"/>
          </a:p>
        </p:txBody>
      </p:sp>
      <p:pic>
        <p:nvPicPr>
          <p:cNvPr id="10" name="Picture Placeholder 9" descr="An aerial view of a factory&#10;&#10;AI-generated content may be incorrect.">
            <a:extLst>
              <a:ext uri="{FF2B5EF4-FFF2-40B4-BE49-F238E27FC236}">
                <a16:creationId xmlns:a16="http://schemas.microsoft.com/office/drawing/2014/main" id="{E84BA96F-D451-27D5-7212-D1660F4614E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3242" t="11711" r="16120"/>
          <a:stretch/>
        </p:blipFill>
        <p:spPr>
          <a:xfrm>
            <a:off x="6096000" y="0"/>
            <a:ext cx="6097200" cy="5715600"/>
          </a:xfr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D946188-C083-380E-BE1F-BF19519CC1E1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 dirty="0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21F86FD-39F8-9C19-2879-3CF5FA5BD12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0CD4E6A-8AC4-FA1C-2DA6-C9AC60F316D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905200" y="3059722"/>
            <a:ext cx="381600" cy="1524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98F4B2-2377-2352-0B12-DA8ABA1B6A2F}"/>
              </a:ext>
            </a:extLst>
          </p:cNvPr>
          <p:cNvSpPr/>
          <p:nvPr/>
        </p:nvSpPr>
        <p:spPr>
          <a:xfrm>
            <a:off x="8592065" y="5334000"/>
            <a:ext cx="3218934" cy="762000"/>
          </a:xfrm>
          <a:prstGeom prst="rect">
            <a:avLst/>
          </a:prstGeom>
          <a:solidFill>
            <a:srgbClr val="1AB092"/>
          </a:solidFill>
          <a:ln w="38100">
            <a:noFill/>
          </a:ln>
        </p:spPr>
        <p:txBody>
          <a:bodyPr wrap="square" lIns="0" tIns="180000" rIns="180000" bIns="180000" anchor="ctr">
            <a:noAutofit/>
          </a:bodyPr>
          <a:lstStyle/>
          <a:p>
            <a:pPr algn="r" defTabSz="914354">
              <a:buClr>
                <a:srgbClr val="000000"/>
              </a:buClr>
              <a:defRPr/>
            </a:pPr>
            <a:r>
              <a:rPr lang="en-US" sz="1600" dirty="0">
                <a:solidFill>
                  <a:srgbClr val="FFFFFF"/>
                </a:solidFill>
              </a:rPr>
              <a:t> Investments in new production </a:t>
            </a:r>
            <a:br>
              <a:rPr lang="en-US" sz="1600" dirty="0">
                <a:solidFill>
                  <a:srgbClr val="FFFFFF"/>
                </a:solidFill>
              </a:rPr>
            </a:br>
            <a:r>
              <a:rPr lang="en-US" sz="1600" dirty="0">
                <a:solidFill>
                  <a:srgbClr val="FFFFFF"/>
                </a:solidFill>
              </a:rPr>
              <a:t>are up to </a:t>
            </a:r>
            <a:r>
              <a:rPr lang="en-US" sz="1600" b="1" dirty="0">
                <a:solidFill>
                  <a:srgbClr val="FFFFFF"/>
                </a:solidFill>
              </a:rPr>
              <a:t>€300m</a:t>
            </a:r>
            <a:r>
              <a:rPr lang="en-US" sz="1600" dirty="0">
                <a:solidFill>
                  <a:srgbClr val="FFFFFF"/>
                </a:solidFill>
              </a:rPr>
              <a:t> per factory​</a:t>
            </a:r>
          </a:p>
        </p:txBody>
      </p:sp>
    </p:spTree>
    <p:extLst>
      <p:ext uri="{BB962C8B-B14F-4D97-AF65-F5344CB8AC3E}">
        <p14:creationId xmlns:p14="http://schemas.microsoft.com/office/powerpoint/2010/main" val="3988541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C39434D-7B04-2A8F-E2FB-3E36425D52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39434D-7B04-2A8F-E2FB-3E36425D5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83B7178-15EB-3693-B683-537B20CEF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Questions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B4C5DB-7A15-A69F-8416-C57F68F7A8B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D4FD79-1B68-E3D0-8343-B226B066B4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6632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65672AA-E720-82A9-A7BA-B245B4CA8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600" y="381000"/>
            <a:ext cx="6661226" cy="763200"/>
          </a:xfrm>
        </p:spPr>
        <p:txBody>
          <a:bodyPr/>
          <a:lstStyle/>
          <a:p>
            <a:r>
              <a:rPr lang="en-US" dirty="0"/>
              <a:t>Mirella Vitale – ROCKWOOL Group</a:t>
            </a:r>
            <a:endParaRPr lang="pl-PL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ED89D-AAFA-30B1-D035-17CB848766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1524000"/>
            <a:ext cx="5863557" cy="4190400"/>
          </a:xfrm>
        </p:spPr>
        <p:txBody>
          <a:bodyPr/>
          <a:lstStyle/>
          <a:p>
            <a:pPr marL="195263" indent="-195263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latin typeface="+mj-lt"/>
                <a:ea typeface="DengXian" panose="02010600030101010101" pitchFamily="2" charset="-122"/>
              </a:rPr>
              <a:t>Italian, living in Denmark.</a:t>
            </a:r>
          </a:p>
          <a:p>
            <a:pPr marL="195263" indent="-195263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latin typeface="+mj-lt"/>
                <a:ea typeface="DengXian" panose="02010600030101010101" pitchFamily="2" charset="-122"/>
              </a:rPr>
              <a:t>Senior Vice President of Marketing, Communication and Public Affairs for the </a:t>
            </a:r>
            <a:r>
              <a:rPr lang="en-US" sz="1800" b="1" dirty="0">
                <a:latin typeface="+mj-lt"/>
                <a:ea typeface="DengXian" panose="02010600030101010101" pitchFamily="2" charset="-122"/>
              </a:rPr>
              <a:t>ROCKWOOL Group. </a:t>
            </a:r>
          </a:p>
          <a:p>
            <a:pPr marL="195263" indent="-195263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Joined </a:t>
            </a:r>
            <a:r>
              <a:rPr lang="en-GB" sz="1800" b="1" dirty="0">
                <a:effectLst/>
                <a:latin typeface="+mj-lt"/>
                <a:ea typeface="DengXian" panose="02010600030101010101" pitchFamily="2" charset="-122"/>
              </a:rPr>
              <a:t>ROCKWOOL Group</a:t>
            </a: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 in 2016 </a:t>
            </a:r>
          </a:p>
          <a:p>
            <a:pPr marL="195263" indent="-195263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Previously 15 years with </a:t>
            </a:r>
            <a:r>
              <a:rPr lang="en-GB" sz="1800" b="1" dirty="0">
                <a:effectLst/>
                <a:latin typeface="+mj-lt"/>
                <a:ea typeface="DengXian" panose="02010600030101010101" pitchFamily="2" charset="-122"/>
              </a:rPr>
              <a:t>Vestas Wind Systems A/S </a:t>
            </a: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in various leadership positions in Taranto, Rome, Madrid, Aarhus, and Copenhagen. </a:t>
            </a:r>
          </a:p>
          <a:p>
            <a:pPr marL="195263" indent="-195263">
              <a:lnSpc>
                <a:spcPct val="100000"/>
              </a:lnSpc>
              <a:spcBef>
                <a:spcPts val="2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Prior to joining Vestas, I worked with </a:t>
            </a:r>
            <a:br>
              <a:rPr lang="en-GB" sz="1800" dirty="0">
                <a:effectLst/>
                <a:latin typeface="+mj-lt"/>
                <a:ea typeface="DengXian" panose="02010600030101010101" pitchFamily="2" charset="-122"/>
              </a:rPr>
            </a:br>
            <a:r>
              <a:rPr lang="en-GB" sz="1800" b="1" dirty="0">
                <a:effectLst/>
                <a:latin typeface="+mj-lt"/>
                <a:ea typeface="DengXian" panose="02010600030101010101" pitchFamily="2" charset="-122"/>
              </a:rPr>
              <a:t>Shell Offshore Inc. </a:t>
            </a:r>
            <a:r>
              <a:rPr lang="en-GB" sz="1800" dirty="0">
                <a:effectLst/>
                <a:latin typeface="+mj-lt"/>
                <a:ea typeface="DengXian" panose="02010600030101010101" pitchFamily="2" charset="-122"/>
              </a:rPr>
              <a:t>in Taranto, Italy.</a:t>
            </a:r>
            <a:endParaRPr lang="pl-PL" dirty="0"/>
          </a:p>
        </p:txBody>
      </p:sp>
      <p:pic>
        <p:nvPicPr>
          <p:cNvPr id="9" name="Picture Placeholder 8" descr="A person in a suit&#10;&#10;Description automatically generated">
            <a:extLst>
              <a:ext uri="{FF2B5EF4-FFF2-40B4-BE49-F238E27FC236}">
                <a16:creationId xmlns:a16="http://schemas.microsoft.com/office/drawing/2014/main" id="{FBEF5285-1158-F23D-BA66-A643695CE06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2" r="17299"/>
          <a:stretch/>
        </p:blipFill>
        <p:spPr>
          <a:xfrm>
            <a:off x="7042826" y="381000"/>
            <a:ext cx="5150374" cy="5333400"/>
          </a:xfrm>
          <a:prstGeom prst="rect">
            <a:avLst/>
          </a:prstGeom>
        </p:spPr>
      </p:pic>
      <p:sp>
        <p:nvSpPr>
          <p:cNvPr id="12" name="Subtitle 11">
            <a:extLst>
              <a:ext uri="{FF2B5EF4-FFF2-40B4-BE49-F238E27FC236}">
                <a16:creationId xmlns:a16="http://schemas.microsoft.com/office/drawing/2014/main" id="{02D089A0-5E13-6323-0A27-5BA54F8F6F11}"/>
              </a:ext>
            </a:extLst>
          </p:cNvPr>
          <p:cNvSpPr>
            <a:spLocks noGrp="1"/>
          </p:cNvSpPr>
          <p:nvPr>
            <p:ph type="subTitle" idx="44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46025C-A082-531E-A2EA-DD47FCE957D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3D410B-4A3B-E31C-EBF8-16025A91F7A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3424E0-8C4B-64F1-2846-15A74D5808A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858000" y="1522800"/>
            <a:ext cx="381600" cy="1144800"/>
          </a:xfrm>
        </p:spPr>
        <p:txBody>
          <a:bodyPr/>
          <a:lstStyle/>
          <a:p>
            <a:endParaRPr lang="pl-PL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7AB0EE4-6AE1-7990-E0A5-CE783FED5781}"/>
              </a:ext>
            </a:extLst>
          </p:cNvPr>
          <p:cNvSpPr txBox="1"/>
          <p:nvPr/>
        </p:nvSpPr>
        <p:spPr>
          <a:xfrm>
            <a:off x="7038626" y="4190401"/>
            <a:ext cx="5153373" cy="1524599"/>
          </a:xfrm>
          <a:prstGeom prst="rect">
            <a:avLst/>
          </a:prstGeom>
          <a:gradFill>
            <a:gsLst>
              <a:gs pos="100000">
                <a:schemeClr val="tx1">
                  <a:alpha val="73000"/>
                </a:schemeClr>
              </a:gs>
              <a:gs pos="0">
                <a:schemeClr val="tx1">
                  <a:alpha val="0"/>
                </a:schemeClr>
              </a:gs>
            </a:gsLst>
            <a:lin ang="5400000" scaled="0"/>
          </a:gradFill>
        </p:spPr>
        <p:txBody>
          <a:bodyPr wrap="square" lIns="360000" tIns="216000" rIns="0" anchor="b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Mirella Vitale</a:t>
            </a:r>
          </a:p>
          <a:p>
            <a:r>
              <a:rPr lang="en-US" sz="1600" dirty="0">
                <a:solidFill>
                  <a:schemeClr val="bg1"/>
                </a:solidFill>
              </a:rPr>
              <a:t>Senior Vice President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Marketing, Communication &amp; Public Affairs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6190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D715EAC-C2B9-5232-D982-5A15B7A47E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718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715EAC-C2B9-5232-D982-5A15B7A47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6CBCAC6-221C-4594-84B4-CA974D0B76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ROCKWOOL at a glance</a:t>
            </a:r>
          </a:p>
        </p:txBody>
      </p:sp>
      <p:sp>
        <p:nvSpPr>
          <p:cNvPr id="82" name="Content Placeholder 81">
            <a:extLst>
              <a:ext uri="{FF2B5EF4-FFF2-40B4-BE49-F238E27FC236}">
                <a16:creationId xmlns:a16="http://schemas.microsoft.com/office/drawing/2014/main" id="{CAB53B13-B228-2961-4520-1B42346E02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1144200"/>
            <a:ext cx="8432886" cy="1961576"/>
          </a:xfrm>
        </p:spPr>
        <p:txBody>
          <a:bodyPr rIns="0"/>
          <a:lstStyle/>
          <a:p>
            <a:pPr>
              <a:lnSpc>
                <a:spcPct val="100000"/>
              </a:lnSpc>
            </a:pPr>
            <a:r>
              <a:rPr lang="en-GB" sz="1600" dirty="0"/>
              <a:t>With more than 12,000 dedicated colleagues in 38 countries and sales in more than 120, </a:t>
            </a:r>
            <a:r>
              <a:rPr lang="en-GB" sz="1600" b="1" dirty="0"/>
              <a:t>ROCKWOOL Group </a:t>
            </a:r>
            <a:r>
              <a:rPr lang="en-GB" sz="1600" dirty="0"/>
              <a:t>are the world leader in stone wool products.</a:t>
            </a:r>
          </a:p>
          <a:p>
            <a:pPr>
              <a:lnSpc>
                <a:spcPct val="100000"/>
              </a:lnSpc>
            </a:pPr>
            <a:r>
              <a:rPr lang="en-GB" sz="1600" dirty="0"/>
              <a:t>Stone wool is a recyclable, versatile material that forms the basis of all our businesses. </a:t>
            </a:r>
          </a:p>
          <a:p>
            <a:pPr marR="50496">
              <a:lnSpc>
                <a:spcPct val="100000"/>
              </a:lnSpc>
            </a:pPr>
            <a:r>
              <a:rPr lang="en-GB" sz="1600" dirty="0"/>
              <a:t>ROCKWOOL Group has five brands, all working together to achieve our common purpose – to release the natural power of stone to enrich modern living.</a:t>
            </a:r>
            <a:endParaRPr lang="en-GB" sz="1100" dirty="0"/>
          </a:p>
        </p:txBody>
      </p:sp>
      <p:pic>
        <p:nvPicPr>
          <p:cNvPr id="93" name="Picture Placeholder 82">
            <a:extLst>
              <a:ext uri="{FF2B5EF4-FFF2-40B4-BE49-F238E27FC236}">
                <a16:creationId xmlns:a16="http://schemas.microsoft.com/office/drawing/2014/main" id="{ADA4D59E-8197-2EDF-BCAE-07F310EC9AEC}"/>
              </a:ext>
            </a:extLst>
          </p:cNvPr>
          <p:cNvPicPr>
            <a:picLocks noGrp="1" noChangeAspect="1"/>
          </p:cNvPicPr>
          <p:nvPr>
            <p:ph type="pic" sz="quarter" idx="14"/>
            <p:custDataLst>
              <p:tags r:id="rId2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9" r="34379"/>
          <a:stretch/>
        </p:blipFill>
        <p:spPr>
          <a:xfrm>
            <a:off x="9525000" y="398182"/>
            <a:ext cx="2667000" cy="569781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85D014-72A7-FE94-EE59-AF29398686E8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B58734-BCC9-F4AD-8D8A-2CDD11C9D6B3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84" name="Text Placeholder 83">
            <a:extLst>
              <a:ext uri="{FF2B5EF4-FFF2-40B4-BE49-F238E27FC236}">
                <a16:creationId xmlns:a16="http://schemas.microsoft.com/office/drawing/2014/main" id="{E9FD9C56-B357-040C-8E17-1A9458F50AB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34200" y="1144200"/>
            <a:ext cx="381600" cy="1144800"/>
          </a:xfrm>
        </p:spPr>
        <p:txBody>
          <a:bodyPr/>
          <a:lstStyle/>
          <a:p>
            <a:endParaRPr lang="en-GB" sz="700" dirty="0"/>
          </a:p>
        </p:txBody>
      </p:sp>
      <p:sp>
        <p:nvSpPr>
          <p:cNvPr id="9" name="object 24">
            <a:extLst>
              <a:ext uri="{FF2B5EF4-FFF2-40B4-BE49-F238E27FC236}">
                <a16:creationId xmlns:a16="http://schemas.microsoft.com/office/drawing/2014/main" id="{43D62575-297A-229E-3641-89A4719B598F}"/>
              </a:ext>
            </a:extLst>
          </p:cNvPr>
          <p:cNvSpPr txBox="1"/>
          <p:nvPr/>
        </p:nvSpPr>
        <p:spPr>
          <a:xfrm>
            <a:off x="381000" y="5193652"/>
            <a:ext cx="1830821" cy="675267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lnSpc>
                <a:spcPct val="122600"/>
              </a:lnSpc>
              <a:spcBef>
                <a:spcPts val="64"/>
              </a:spcBef>
            </a:pPr>
            <a:r>
              <a:rPr sz="900" dirty="0">
                <a:latin typeface="Avenir LT Pro 45 Book"/>
                <a:cs typeface="Avenir LT Pro 45 Book"/>
              </a:rPr>
              <a:t>The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leading</a:t>
            </a:r>
            <a:r>
              <a:rPr sz="900" spc="-1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global</a:t>
            </a:r>
            <a:r>
              <a:rPr sz="900" spc="-1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supplier</a:t>
            </a:r>
            <a:r>
              <a:rPr sz="900" spc="-10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of</a:t>
            </a:r>
            <a:r>
              <a:rPr sz="900" spc="-10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non-combustible </a:t>
            </a:r>
            <a:r>
              <a:rPr sz="900" spc="-6" dirty="0">
                <a:latin typeface="Avenir LT Pro 45 Book"/>
                <a:cs typeface="Avenir LT Pro 45 Book"/>
              </a:rPr>
              <a:t>stone </a:t>
            </a:r>
            <a:r>
              <a:rPr sz="900" dirty="0">
                <a:latin typeface="Avenir LT Pro 45 Book"/>
                <a:cs typeface="Avenir LT Pro 45 Book"/>
              </a:rPr>
              <a:t>wool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insulation</a:t>
            </a:r>
            <a:r>
              <a:rPr sz="900" spc="-13" dirty="0">
                <a:latin typeface="Avenir LT Pro 45 Book"/>
                <a:cs typeface="Avenir LT Pro 45 Book"/>
              </a:rPr>
              <a:t> products </a:t>
            </a:r>
            <a:r>
              <a:rPr sz="900" dirty="0">
                <a:latin typeface="Avenir LT Pro 45 Book"/>
                <a:cs typeface="Avenir LT Pro 45 Book"/>
              </a:rPr>
              <a:t>for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all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major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application areas,</a:t>
            </a:r>
            <a:r>
              <a:rPr sz="900" spc="-3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including</a:t>
            </a:r>
            <a:r>
              <a:rPr sz="900" spc="-3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technical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and</a:t>
            </a:r>
            <a:r>
              <a:rPr sz="900" spc="-32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OEM.</a:t>
            </a:r>
            <a:endParaRPr sz="900" dirty="0">
              <a:latin typeface="Avenir LT Pro 45 Book"/>
              <a:cs typeface="Avenir LT Pro 45 Book"/>
            </a:endParaRPr>
          </a:p>
        </p:txBody>
      </p:sp>
      <p:sp>
        <p:nvSpPr>
          <p:cNvPr id="10" name="object 25">
            <a:extLst>
              <a:ext uri="{FF2B5EF4-FFF2-40B4-BE49-F238E27FC236}">
                <a16:creationId xmlns:a16="http://schemas.microsoft.com/office/drawing/2014/main" id="{42333726-E4D7-B41A-909A-0AD3A97C486E}"/>
              </a:ext>
            </a:extLst>
          </p:cNvPr>
          <p:cNvSpPr txBox="1"/>
          <p:nvPr/>
        </p:nvSpPr>
        <p:spPr>
          <a:xfrm>
            <a:off x="2365705" y="5177026"/>
            <a:ext cx="1411741" cy="504899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lnSpc>
                <a:spcPct val="122600"/>
              </a:lnSpc>
              <a:spcBef>
                <a:spcPts val="64"/>
              </a:spcBef>
            </a:pPr>
            <a:r>
              <a:rPr sz="900" spc="-13" dirty="0">
                <a:latin typeface="Avenir LT Pro 45 Book"/>
                <a:cs typeface="Avenir LT Pro 45 Book"/>
              </a:rPr>
              <a:t>Providing</a:t>
            </a:r>
            <a:r>
              <a:rPr sz="900" spc="-1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customers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with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indoor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acoustic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solutions</a:t>
            </a:r>
            <a:r>
              <a:rPr sz="900" spc="-16" dirty="0">
                <a:latin typeface="Avenir LT Pro 45 Book"/>
                <a:cs typeface="Avenir LT Pro 45 Book"/>
              </a:rPr>
              <a:t> for </a:t>
            </a:r>
            <a:r>
              <a:rPr sz="900" spc="-6" dirty="0">
                <a:latin typeface="Avenir LT Pro 45 Book"/>
                <a:cs typeface="Avenir LT Pro 45 Book"/>
              </a:rPr>
              <a:t>ceilings</a:t>
            </a:r>
            <a:r>
              <a:rPr sz="900" spc="-32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and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walls.</a:t>
            </a:r>
            <a:endParaRPr sz="900" dirty="0">
              <a:latin typeface="Avenir LT Pro 45 Book"/>
              <a:cs typeface="Avenir LT Pro 45 Book"/>
            </a:endParaRPr>
          </a:p>
        </p:txBody>
      </p:sp>
      <p:sp>
        <p:nvSpPr>
          <p:cNvPr id="11" name="object 26">
            <a:extLst>
              <a:ext uri="{FF2B5EF4-FFF2-40B4-BE49-F238E27FC236}">
                <a16:creationId xmlns:a16="http://schemas.microsoft.com/office/drawing/2014/main" id="{D8BF2D53-26E7-8D2F-3BFB-336FDEA4967C}"/>
              </a:ext>
            </a:extLst>
          </p:cNvPr>
          <p:cNvSpPr txBox="1"/>
          <p:nvPr/>
        </p:nvSpPr>
        <p:spPr>
          <a:xfrm>
            <a:off x="3867581" y="5208709"/>
            <a:ext cx="1699854" cy="675267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lnSpc>
                <a:spcPct val="122600"/>
              </a:lnSpc>
              <a:spcBef>
                <a:spcPts val="64"/>
              </a:spcBef>
            </a:pPr>
            <a:r>
              <a:rPr sz="900" spc="-6" dirty="0">
                <a:latin typeface="Avenir LT Pro 45 Book"/>
                <a:cs typeface="Avenir LT Pro 45 Book"/>
              </a:rPr>
              <a:t>Supplying</a:t>
            </a:r>
            <a:r>
              <a:rPr sz="900" spc="22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innovative,</a:t>
            </a:r>
            <a:r>
              <a:rPr sz="900" spc="22" dirty="0">
                <a:latin typeface="Avenir LT Pro 45 Book"/>
                <a:cs typeface="Avenir LT Pro 45 Book"/>
              </a:rPr>
              <a:t> </a:t>
            </a:r>
            <a:r>
              <a:rPr sz="900" spc="-16" dirty="0">
                <a:latin typeface="Avenir LT Pro 45 Book"/>
                <a:cs typeface="Avenir LT Pro 45 Book"/>
              </a:rPr>
              <a:t>resource-</a:t>
            </a:r>
            <a:r>
              <a:rPr sz="900" spc="-13" dirty="0">
                <a:latin typeface="Avenir LT Pro 45 Book"/>
                <a:cs typeface="Avenir LT Pro 45 Book"/>
              </a:rPr>
              <a:t>efficient</a:t>
            </a:r>
            <a:r>
              <a:rPr sz="900" spc="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stone </a:t>
            </a:r>
            <a:r>
              <a:rPr sz="900" dirty="0">
                <a:latin typeface="Avenir LT Pro 45 Book"/>
                <a:cs typeface="Avenir LT Pro 45 Book"/>
              </a:rPr>
              <a:t>wool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growing</a:t>
            </a:r>
            <a:r>
              <a:rPr sz="900" spc="-2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media</a:t>
            </a:r>
            <a:r>
              <a:rPr sz="900" spc="-2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solutions</a:t>
            </a:r>
            <a:r>
              <a:rPr sz="900" spc="-22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for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the</a:t>
            </a:r>
            <a:r>
              <a:rPr sz="900" spc="-2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professional </a:t>
            </a:r>
            <a:r>
              <a:rPr sz="900" spc="-13" dirty="0">
                <a:latin typeface="Avenir LT Pro 45 Book"/>
                <a:cs typeface="Avenir LT Pro 45 Book"/>
              </a:rPr>
              <a:t>horticulture</a:t>
            </a:r>
            <a:r>
              <a:rPr sz="900" spc="32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industry.</a:t>
            </a:r>
            <a:endParaRPr sz="900" dirty="0">
              <a:latin typeface="Avenir LT Pro 45 Book"/>
              <a:cs typeface="Avenir LT Pro 45 Book"/>
            </a:endParaRP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0FFFF914-9C83-A17F-6315-C26CFE978B69}"/>
              </a:ext>
            </a:extLst>
          </p:cNvPr>
          <p:cNvSpPr txBox="1"/>
          <p:nvPr/>
        </p:nvSpPr>
        <p:spPr>
          <a:xfrm>
            <a:off x="5723065" y="5190842"/>
            <a:ext cx="1527049" cy="675267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lnSpc>
                <a:spcPct val="122600"/>
              </a:lnSpc>
              <a:spcBef>
                <a:spcPts val="64"/>
              </a:spcBef>
            </a:pPr>
            <a:r>
              <a:rPr sz="900" spc="-13" dirty="0">
                <a:latin typeface="Avenir LT Pro 45 Book"/>
                <a:cs typeface="Avenir LT Pro 45 Book"/>
              </a:rPr>
              <a:t>Manufacturing</a:t>
            </a:r>
            <a:r>
              <a:rPr sz="900" spc="-3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board</a:t>
            </a:r>
            <a:r>
              <a:rPr sz="90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material</a:t>
            </a:r>
            <a:r>
              <a:rPr sz="90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mostly</a:t>
            </a:r>
            <a:r>
              <a:rPr sz="90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used</a:t>
            </a:r>
            <a:r>
              <a:rPr sz="900" spc="-3" dirty="0">
                <a:latin typeface="Avenir LT Pro 45 Book"/>
                <a:cs typeface="Avenir LT Pro 45 Book"/>
              </a:rPr>
              <a:t> </a:t>
            </a:r>
            <a:r>
              <a:rPr sz="900" spc="-16" dirty="0">
                <a:latin typeface="Avenir LT Pro 45 Book"/>
                <a:cs typeface="Avenir LT Pro 45 Book"/>
              </a:rPr>
              <a:t>in </a:t>
            </a:r>
            <a:r>
              <a:rPr sz="900" spc="-6" dirty="0">
                <a:latin typeface="Avenir LT Pro 45 Book"/>
                <a:cs typeface="Avenir LT Pro 45 Book"/>
              </a:rPr>
              <a:t>ventilated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constructions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for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façade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cladding </a:t>
            </a:r>
            <a:r>
              <a:rPr sz="900" dirty="0">
                <a:latin typeface="Avenir LT Pro 45 Book"/>
                <a:cs typeface="Avenir LT Pro 45 Book"/>
              </a:rPr>
              <a:t>and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roof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detailing.</a:t>
            </a:r>
            <a:endParaRPr sz="900" dirty="0">
              <a:latin typeface="Avenir LT Pro 45 Book"/>
              <a:cs typeface="Avenir LT Pro 45 Book"/>
            </a:endParaRPr>
          </a:p>
        </p:txBody>
      </p:sp>
      <p:sp>
        <p:nvSpPr>
          <p:cNvPr id="13" name="object 28">
            <a:extLst>
              <a:ext uri="{FF2B5EF4-FFF2-40B4-BE49-F238E27FC236}">
                <a16:creationId xmlns:a16="http://schemas.microsoft.com/office/drawing/2014/main" id="{462E44C6-902F-B39A-A3DD-29214160B8F3}"/>
              </a:ext>
            </a:extLst>
          </p:cNvPr>
          <p:cNvSpPr txBox="1"/>
          <p:nvPr/>
        </p:nvSpPr>
        <p:spPr>
          <a:xfrm>
            <a:off x="7448633" y="5189508"/>
            <a:ext cx="1894453" cy="845633"/>
          </a:xfrm>
          <a:prstGeom prst="rect">
            <a:avLst/>
          </a:prstGeom>
        </p:spPr>
        <p:txBody>
          <a:bodyPr vert="horz" wrap="square" lIns="0" tIns="8145" rIns="0" bIns="0" rtlCol="0" anchor="t">
            <a:spAutoFit/>
          </a:bodyPr>
          <a:lstStyle/>
          <a:p>
            <a:pPr marL="7620" marR="3175">
              <a:lnSpc>
                <a:spcPct val="122600"/>
              </a:lnSpc>
              <a:spcBef>
                <a:spcPts val="64"/>
              </a:spcBef>
            </a:pPr>
            <a:r>
              <a:rPr sz="900" spc="-6" dirty="0">
                <a:latin typeface="Avenir LT Pro 45 Book"/>
                <a:cs typeface="Avenir LT Pro 45 Book"/>
              </a:rPr>
              <a:t>Supplying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stone</a:t>
            </a:r>
            <a:r>
              <a:rPr sz="900" spc="-13" dirty="0">
                <a:latin typeface="Avenir LT Pro 45 Book"/>
                <a:cs typeface="Avenir LT Pro 45 Book"/>
              </a:rPr>
              <a:t> wool-</a:t>
            </a:r>
            <a:r>
              <a:rPr sz="900" spc="-6" dirty="0">
                <a:latin typeface="Avenir LT Pro 45 Book"/>
                <a:cs typeface="Avenir LT Pro 45 Book"/>
              </a:rPr>
              <a:t>based</a:t>
            </a:r>
            <a:r>
              <a:rPr sz="900" spc="-13" dirty="0">
                <a:latin typeface="Avenir LT Pro 45 Book"/>
                <a:cs typeface="Avenir LT Pro 45 Book"/>
              </a:rPr>
              <a:t> products </a:t>
            </a:r>
            <a:r>
              <a:rPr sz="900" dirty="0">
                <a:latin typeface="Avenir LT Pro 45 Book"/>
                <a:cs typeface="Avenir LT Pro 45 Book"/>
              </a:rPr>
              <a:t>in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four</a:t>
            </a:r>
            <a:r>
              <a:rPr sz="900" spc="-16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core </a:t>
            </a:r>
            <a:r>
              <a:rPr sz="900" spc="-6" dirty="0">
                <a:latin typeface="Avenir LT Pro 45 Book"/>
                <a:cs typeface="Avenir LT Pro 45 Book"/>
              </a:rPr>
              <a:t>areas: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urban</a:t>
            </a:r>
            <a:r>
              <a:rPr sz="900" spc="-13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climate</a:t>
            </a:r>
            <a:r>
              <a:rPr sz="900" spc="-10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adaptation,</a:t>
            </a:r>
            <a:r>
              <a:rPr sz="900" spc="-13" dirty="0">
                <a:latin typeface="Avenir LT Pro 45 Book"/>
                <a:cs typeface="Avenir LT Pro 45 Book"/>
              </a:rPr>
              <a:t> residential </a:t>
            </a:r>
            <a:r>
              <a:rPr sz="900" spc="-6" dirty="0">
                <a:latin typeface="Avenir LT Pro 45 Book"/>
                <a:cs typeface="Avenir LT Pro 45 Book"/>
              </a:rPr>
              <a:t>prefab construction,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urban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acoustics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and</a:t>
            </a:r>
            <a:r>
              <a:rPr sz="900" spc="-29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automotive</a:t>
            </a:r>
            <a:r>
              <a:rPr lang="en-US" sz="900" spc="-6" dirty="0">
                <a:latin typeface="Avenir LT Pro 45 Book"/>
                <a:cs typeface="Avenir LT Pro 45 Book"/>
              </a:rPr>
              <a:t> </a:t>
            </a:r>
            <a:r>
              <a:rPr sz="900" dirty="0">
                <a:latin typeface="Avenir LT Pro 45 Book"/>
                <a:cs typeface="Avenir LT Pro 45 Book"/>
              </a:rPr>
              <a:t>&amp;</a:t>
            </a:r>
            <a:r>
              <a:rPr sz="900" spc="-26" dirty="0">
                <a:latin typeface="Avenir LT Pro 45 Book"/>
                <a:cs typeface="Avenir LT Pro 45 Book"/>
              </a:rPr>
              <a:t> </a:t>
            </a:r>
            <a:r>
              <a:rPr sz="900" spc="-6" dirty="0">
                <a:latin typeface="Avenir LT Pro 45 Book"/>
                <a:cs typeface="Avenir LT Pro 45 Book"/>
              </a:rPr>
              <a:t>industrial</a:t>
            </a:r>
            <a:r>
              <a:rPr sz="900" spc="-22" dirty="0">
                <a:latin typeface="Avenir LT Pro 45 Book"/>
                <a:cs typeface="Avenir LT Pro 45 Book"/>
              </a:rPr>
              <a:t> </a:t>
            </a:r>
            <a:r>
              <a:rPr sz="900" spc="-13" dirty="0">
                <a:latin typeface="Avenir LT Pro 45 Book"/>
                <a:cs typeface="Avenir LT Pro 45 Book"/>
              </a:rPr>
              <a:t>OEM.</a:t>
            </a:r>
            <a:endParaRPr lang="en-US" sz="900" dirty="0">
              <a:latin typeface="Avenir LT Pro 45 Book"/>
              <a:cs typeface="Avenir LT Pro 45 Book"/>
            </a:endParaRPr>
          </a:p>
        </p:txBody>
      </p:sp>
      <p:sp>
        <p:nvSpPr>
          <p:cNvPr id="67" name="object 9">
            <a:extLst>
              <a:ext uri="{FF2B5EF4-FFF2-40B4-BE49-F238E27FC236}">
                <a16:creationId xmlns:a16="http://schemas.microsoft.com/office/drawing/2014/main" id="{2C947B87-B3FC-5436-7DCD-2FAE7752A288}"/>
              </a:ext>
            </a:extLst>
          </p:cNvPr>
          <p:cNvSpPr txBox="1"/>
          <p:nvPr/>
        </p:nvSpPr>
        <p:spPr>
          <a:xfrm>
            <a:off x="4094133" y="3132213"/>
            <a:ext cx="1637577" cy="10746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7620">
              <a:spcBef>
                <a:spcPts val="160"/>
              </a:spcBef>
            </a:pPr>
            <a:r>
              <a:rPr sz="2400" b="1" spc="-16" dirty="0">
                <a:solidFill>
                  <a:srgbClr val="8D181F"/>
                </a:solidFill>
                <a:latin typeface="+mj-lt"/>
                <a:cs typeface="Avenir LT Pro 65 Medium"/>
              </a:rPr>
              <a:t>200</a:t>
            </a:r>
            <a:endParaRPr lang="en-US" sz="2400" dirty="0">
              <a:solidFill>
                <a:srgbClr val="8D181F"/>
              </a:solidFill>
              <a:latin typeface="+mj-lt"/>
              <a:cs typeface="Avenir LT Pro 65 Medium"/>
            </a:endParaRPr>
          </a:p>
          <a:p>
            <a:pPr marL="7620">
              <a:spcBef>
                <a:spcPts val="51"/>
              </a:spcBef>
            </a:pPr>
            <a:r>
              <a:rPr sz="900" dirty="0">
                <a:latin typeface="+mj-lt"/>
                <a:cs typeface="Avenir LT Pro 55 Roman"/>
              </a:rPr>
              <a:t>the</a:t>
            </a:r>
            <a:r>
              <a:rPr sz="900" spc="-32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average</a:t>
            </a:r>
            <a:r>
              <a:rPr sz="900" spc="-29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number</a:t>
            </a:r>
            <a:r>
              <a:rPr lang="en-GB" sz="900" spc="-6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f</a:t>
            </a:r>
            <a:r>
              <a:rPr sz="900" spc="-16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days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after</a:t>
            </a:r>
            <a:r>
              <a:rPr sz="900" spc="-16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which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ur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building insulation</a:t>
            </a:r>
            <a:r>
              <a:rPr sz="900" dirty="0">
                <a:latin typeface="+mj-lt"/>
                <a:cs typeface="Avenir LT Pro 55 Roman"/>
              </a:rPr>
              <a:t> </a:t>
            </a:r>
            <a:r>
              <a:rPr sz="900" spc="-13" dirty="0">
                <a:latin typeface="+mj-lt"/>
                <a:cs typeface="Avenir LT Pro 55 Roman"/>
              </a:rPr>
              <a:t>products</a:t>
            </a:r>
            <a:r>
              <a:rPr sz="900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start</a:t>
            </a:r>
            <a:r>
              <a:rPr sz="900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saving more</a:t>
            </a:r>
            <a:r>
              <a:rPr sz="900" spc="-13" dirty="0">
                <a:latin typeface="+mj-lt"/>
                <a:cs typeface="Avenir LT Pro 55 Roman"/>
              </a:rPr>
              <a:t> energy </a:t>
            </a:r>
            <a:r>
              <a:rPr sz="900" spc="-6" dirty="0">
                <a:latin typeface="+mj-lt"/>
                <a:cs typeface="Avenir LT Pro 55 Roman"/>
              </a:rPr>
              <a:t>than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used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during their</a:t>
            </a:r>
            <a:r>
              <a:rPr sz="900" spc="10" dirty="0">
                <a:latin typeface="+mj-lt"/>
                <a:cs typeface="Avenir LT Pro 55 Roman"/>
              </a:rPr>
              <a:t> </a:t>
            </a:r>
            <a:r>
              <a:rPr sz="900" spc="-13" dirty="0">
                <a:latin typeface="+mj-lt"/>
                <a:cs typeface="Avenir LT Pro 55 Roman"/>
              </a:rPr>
              <a:t>manufacturing</a:t>
            </a:r>
            <a:r>
              <a:rPr sz="900" spc="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phase</a:t>
            </a:r>
            <a:endParaRPr lang="en-GB" sz="900" dirty="0">
              <a:latin typeface="+mj-lt"/>
              <a:cs typeface="Avenir LT Pro 55 Roman"/>
            </a:endParaRPr>
          </a:p>
        </p:txBody>
      </p:sp>
      <p:sp>
        <p:nvSpPr>
          <p:cNvPr id="69" name="object 11">
            <a:extLst>
              <a:ext uri="{FF2B5EF4-FFF2-40B4-BE49-F238E27FC236}">
                <a16:creationId xmlns:a16="http://schemas.microsoft.com/office/drawing/2014/main" id="{BA809467-564A-A80E-EA00-865F9F9B6AFC}"/>
              </a:ext>
            </a:extLst>
          </p:cNvPr>
          <p:cNvSpPr txBox="1"/>
          <p:nvPr/>
        </p:nvSpPr>
        <p:spPr>
          <a:xfrm>
            <a:off x="7498322" y="3132213"/>
            <a:ext cx="1513870" cy="6797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45">
              <a:spcBef>
                <a:spcPts val="160"/>
              </a:spcBef>
            </a:pPr>
            <a:r>
              <a:rPr sz="2400" b="1" spc="-6" dirty="0">
                <a:solidFill>
                  <a:srgbClr val="8D181F"/>
                </a:solidFill>
                <a:latin typeface="+mj-lt"/>
                <a:cs typeface="Avenir LT Pro 65 Medium"/>
              </a:rPr>
              <a:t>3,855</a:t>
            </a:r>
            <a:r>
              <a:rPr lang="en-GB" sz="2400" b="1" spc="-71" dirty="0">
                <a:solidFill>
                  <a:srgbClr val="8D181F"/>
                </a:solidFill>
                <a:latin typeface="+mj-lt"/>
                <a:cs typeface="Avenir LT Pro 65 Medium"/>
              </a:rPr>
              <a:t> </a:t>
            </a:r>
            <a:r>
              <a:rPr sz="1400" b="1" spc="-13" dirty="0">
                <a:solidFill>
                  <a:srgbClr val="8D181F"/>
                </a:solidFill>
                <a:latin typeface="+mj-lt"/>
                <a:cs typeface="Avenir LT Pro 65 Medium"/>
              </a:rPr>
              <a:t>MEUR</a:t>
            </a:r>
            <a:endParaRPr sz="2400" dirty="0">
              <a:latin typeface="+mj-lt"/>
              <a:cs typeface="Avenir LT Pro 65 Medium"/>
            </a:endParaRPr>
          </a:p>
          <a:p>
            <a:pPr marL="8145">
              <a:spcBef>
                <a:spcPts val="51"/>
              </a:spcBef>
            </a:pPr>
            <a:r>
              <a:rPr sz="900" dirty="0">
                <a:latin typeface="+mj-lt"/>
                <a:cs typeface="Avenir LT Pro 55 Roman"/>
              </a:rPr>
              <a:t>of</a:t>
            </a:r>
            <a:r>
              <a:rPr sz="900" spc="-16" dirty="0">
                <a:latin typeface="+mj-lt"/>
                <a:cs typeface="Avenir LT Pro 55 Roman"/>
              </a:rPr>
              <a:t> </a:t>
            </a:r>
            <a:r>
              <a:rPr sz="900" spc="-13" dirty="0">
                <a:latin typeface="+mj-lt"/>
                <a:cs typeface="Avenir LT Pro 55 Roman"/>
              </a:rPr>
              <a:t>revenue </a:t>
            </a:r>
            <a:r>
              <a:rPr sz="900" dirty="0">
                <a:latin typeface="+mj-lt"/>
                <a:cs typeface="Avenir LT Pro 55 Roman"/>
              </a:rPr>
              <a:t>of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which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86%</a:t>
            </a:r>
            <a:r>
              <a:rPr sz="900" spc="-16" dirty="0">
                <a:latin typeface="+mj-lt"/>
                <a:cs typeface="Avenir LT Pro 55 Roman"/>
              </a:rPr>
              <a:t> </a:t>
            </a:r>
            <a:br>
              <a:rPr lang="en-GB" sz="900" spc="-16" dirty="0">
                <a:latin typeface="+mj-lt"/>
                <a:cs typeface="Avenir LT Pro 55 Roman"/>
              </a:rPr>
            </a:br>
            <a:r>
              <a:rPr sz="900" dirty="0">
                <a:latin typeface="+mj-lt"/>
                <a:cs typeface="Avenir LT Pro 55 Roman"/>
              </a:rPr>
              <a:t>is</a:t>
            </a:r>
            <a:r>
              <a:rPr sz="900" spc="-13" dirty="0">
                <a:latin typeface="+mj-lt"/>
                <a:cs typeface="Avenir LT Pro 55 Roman"/>
              </a:rPr>
              <a:t> </a:t>
            </a:r>
            <a:r>
              <a:rPr sz="900" spc="-16" dirty="0">
                <a:latin typeface="+mj-lt"/>
                <a:cs typeface="Avenir LT Pro 55 Roman"/>
              </a:rPr>
              <a:t>EU</a:t>
            </a:r>
            <a:r>
              <a:rPr lang="en-GB" sz="900" spc="-16" dirty="0">
                <a:latin typeface="+mj-lt"/>
                <a:cs typeface="Avenir LT Pro 55 Roman"/>
              </a:rPr>
              <a:t> </a:t>
            </a:r>
            <a:r>
              <a:rPr sz="900" spc="-19" dirty="0">
                <a:latin typeface="+mj-lt"/>
                <a:cs typeface="Avenir LT Pro 55 Roman"/>
              </a:rPr>
              <a:t>Taxonomy-</a:t>
            </a:r>
            <a:r>
              <a:rPr sz="900" spc="-6" dirty="0">
                <a:latin typeface="+mj-lt"/>
                <a:cs typeface="Avenir LT Pro 55 Roman"/>
              </a:rPr>
              <a:t>aligned</a:t>
            </a:r>
            <a:endParaRPr sz="900" dirty="0">
              <a:latin typeface="+mj-lt"/>
              <a:cs typeface="Avenir LT Pro 55 Roman"/>
            </a:endParaRPr>
          </a:p>
        </p:txBody>
      </p:sp>
      <p:sp>
        <p:nvSpPr>
          <p:cNvPr id="73" name="object 15">
            <a:extLst>
              <a:ext uri="{FF2B5EF4-FFF2-40B4-BE49-F238E27FC236}">
                <a16:creationId xmlns:a16="http://schemas.microsoft.com/office/drawing/2014/main" id="{E44539A4-E30A-15AE-A75C-5B3E5DB12F81}"/>
              </a:ext>
            </a:extLst>
          </p:cNvPr>
          <p:cNvSpPr txBox="1"/>
          <p:nvPr/>
        </p:nvSpPr>
        <p:spPr>
          <a:xfrm>
            <a:off x="6043712" y="3132213"/>
            <a:ext cx="1142609" cy="818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45">
              <a:spcBef>
                <a:spcPts val="160"/>
              </a:spcBef>
            </a:pPr>
            <a:r>
              <a:rPr sz="2400" b="1" spc="-16" dirty="0">
                <a:solidFill>
                  <a:srgbClr val="8D181F"/>
                </a:solidFill>
                <a:latin typeface="+mj-lt"/>
                <a:cs typeface="Avenir LT Pro 65 Medium"/>
              </a:rPr>
              <a:t>23%</a:t>
            </a:r>
            <a:endParaRPr sz="2400" dirty="0">
              <a:latin typeface="+mj-lt"/>
              <a:cs typeface="Avenir LT Pro 65 Medium"/>
            </a:endParaRPr>
          </a:p>
          <a:p>
            <a:pPr marL="8145">
              <a:spcBef>
                <a:spcPts val="51"/>
              </a:spcBef>
            </a:pPr>
            <a:r>
              <a:rPr sz="900" dirty="0">
                <a:latin typeface="+mj-lt"/>
                <a:cs typeface="Avenir LT Pro 55 Roman"/>
              </a:rPr>
              <a:t>of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ur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dividend</a:t>
            </a:r>
            <a:r>
              <a:rPr sz="900" spc="-19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goes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to</a:t>
            </a:r>
            <a:r>
              <a:rPr sz="900" spc="-19" dirty="0">
                <a:latin typeface="+mj-lt"/>
                <a:cs typeface="Avenir LT Pro 55 Roman"/>
              </a:rPr>
              <a:t> </a:t>
            </a:r>
            <a:r>
              <a:rPr sz="900" spc="-16" dirty="0">
                <a:latin typeface="+mj-lt"/>
                <a:cs typeface="Avenir LT Pro 55 Roman"/>
              </a:rPr>
              <a:t>the</a:t>
            </a:r>
            <a:r>
              <a:rPr lang="en-GB" sz="900" spc="-16" dirty="0">
                <a:latin typeface="+mj-lt"/>
                <a:cs typeface="Avenir LT Pro 55 Roman"/>
              </a:rPr>
              <a:t> </a:t>
            </a:r>
            <a:r>
              <a:rPr sz="900" spc="-13" dirty="0">
                <a:latin typeface="+mj-lt"/>
                <a:cs typeface="Avenir LT Pro 55 Roman"/>
              </a:rPr>
              <a:t>ROCKWOOL</a:t>
            </a:r>
            <a:r>
              <a:rPr sz="900" spc="10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Foundation</a:t>
            </a:r>
            <a:endParaRPr sz="900" dirty="0">
              <a:latin typeface="+mj-lt"/>
              <a:cs typeface="Avenir LT Pro 55 Roman"/>
            </a:endParaRPr>
          </a:p>
        </p:txBody>
      </p:sp>
      <p:sp>
        <p:nvSpPr>
          <p:cNvPr id="75" name="object 17">
            <a:extLst>
              <a:ext uri="{FF2B5EF4-FFF2-40B4-BE49-F238E27FC236}">
                <a16:creationId xmlns:a16="http://schemas.microsoft.com/office/drawing/2014/main" id="{50F34EF1-E574-C76B-20AA-13215439D789}"/>
              </a:ext>
            </a:extLst>
          </p:cNvPr>
          <p:cNvSpPr txBox="1"/>
          <p:nvPr/>
        </p:nvSpPr>
        <p:spPr>
          <a:xfrm>
            <a:off x="377987" y="3132213"/>
            <a:ext cx="842810" cy="9567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45">
              <a:spcBef>
                <a:spcPts val="160"/>
              </a:spcBef>
            </a:pPr>
            <a:r>
              <a:rPr sz="2400" b="1" spc="-13" dirty="0">
                <a:solidFill>
                  <a:srgbClr val="8D181F"/>
                </a:solidFill>
                <a:latin typeface="+mj-lt"/>
                <a:cs typeface="Avenir LT Pro 65 Medium"/>
              </a:rPr>
              <a:t>120+</a:t>
            </a:r>
            <a:endParaRPr sz="2400" dirty="0">
              <a:latin typeface="+mj-lt"/>
              <a:cs typeface="Avenir LT Pro 65 Medium"/>
            </a:endParaRPr>
          </a:p>
          <a:p>
            <a:pPr marL="8145">
              <a:spcBef>
                <a:spcPts val="51"/>
              </a:spcBef>
            </a:pPr>
            <a:r>
              <a:rPr sz="900" spc="-6" dirty="0">
                <a:latin typeface="+mj-lt"/>
                <a:cs typeface="Avenir LT Pro 55 Roman"/>
              </a:rPr>
              <a:t>Number</a:t>
            </a:r>
            <a:r>
              <a:rPr sz="900" spc="-26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f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br>
              <a:rPr lang="en-GB" sz="900" spc="-22" dirty="0">
                <a:latin typeface="+mj-lt"/>
                <a:cs typeface="Avenir LT Pro 55 Roman"/>
              </a:rPr>
            </a:br>
            <a:r>
              <a:rPr sz="900" spc="-6" dirty="0">
                <a:latin typeface="+mj-lt"/>
                <a:cs typeface="Avenir LT Pro 55 Roman"/>
              </a:rPr>
              <a:t>countries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r>
              <a:rPr sz="900" spc="-13" dirty="0">
                <a:latin typeface="+mj-lt"/>
                <a:cs typeface="Avenir LT Pro 55 Roman"/>
              </a:rPr>
              <a:t>where</a:t>
            </a:r>
            <a:r>
              <a:rPr lang="en-GB" sz="900" spc="-13" dirty="0">
                <a:latin typeface="+mj-lt"/>
                <a:cs typeface="Avenir LT Pro 55 Roman"/>
              </a:rPr>
              <a:t> </a:t>
            </a:r>
            <a:br>
              <a:rPr lang="en-GB" sz="900" spc="-13" dirty="0">
                <a:latin typeface="+mj-lt"/>
                <a:cs typeface="Avenir LT Pro 55 Roman"/>
              </a:rPr>
            </a:br>
            <a:r>
              <a:rPr sz="900" dirty="0">
                <a:latin typeface="+mj-lt"/>
                <a:cs typeface="Avenir LT Pro 55 Roman"/>
              </a:rPr>
              <a:t>we</a:t>
            </a:r>
            <a:r>
              <a:rPr sz="900" spc="-26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sell</a:t>
            </a:r>
            <a:r>
              <a:rPr sz="900" spc="-26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ur</a:t>
            </a:r>
            <a:r>
              <a:rPr sz="900" spc="-26" dirty="0">
                <a:latin typeface="+mj-lt"/>
                <a:cs typeface="Avenir LT Pro 55 Roman"/>
              </a:rPr>
              <a:t> </a:t>
            </a:r>
            <a:r>
              <a:rPr sz="900" spc="-6" dirty="0">
                <a:latin typeface="+mj-lt"/>
                <a:cs typeface="Avenir LT Pro 55 Roman"/>
              </a:rPr>
              <a:t>products</a:t>
            </a:r>
            <a:endParaRPr sz="900" dirty="0">
              <a:latin typeface="+mj-lt"/>
              <a:cs typeface="Avenir LT Pro 55 Roman"/>
            </a:endParaRPr>
          </a:p>
        </p:txBody>
      </p:sp>
      <p:sp>
        <p:nvSpPr>
          <p:cNvPr id="77" name="object 19">
            <a:extLst>
              <a:ext uri="{FF2B5EF4-FFF2-40B4-BE49-F238E27FC236}">
                <a16:creationId xmlns:a16="http://schemas.microsoft.com/office/drawing/2014/main" id="{070BAEF3-7CAD-C770-069F-D3BAAB3789FA}"/>
              </a:ext>
            </a:extLst>
          </p:cNvPr>
          <p:cNvSpPr txBox="1"/>
          <p:nvPr/>
        </p:nvSpPr>
        <p:spPr>
          <a:xfrm>
            <a:off x="1532799" y="3132213"/>
            <a:ext cx="586157" cy="6797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145">
              <a:spcBef>
                <a:spcPts val="160"/>
              </a:spcBef>
            </a:pPr>
            <a:r>
              <a:rPr sz="2400" b="1" spc="-16" dirty="0">
                <a:solidFill>
                  <a:srgbClr val="8D181F"/>
                </a:solidFill>
                <a:latin typeface="+mj-lt"/>
                <a:cs typeface="Avenir LT Pro 65 Medium"/>
              </a:rPr>
              <a:t>42</a:t>
            </a:r>
            <a:endParaRPr sz="2400" dirty="0">
              <a:latin typeface="+mj-lt"/>
              <a:cs typeface="Avenir LT Pro 65 Medium"/>
            </a:endParaRPr>
          </a:p>
          <a:p>
            <a:pPr marL="8145">
              <a:spcBef>
                <a:spcPts val="51"/>
              </a:spcBef>
            </a:pPr>
            <a:r>
              <a:rPr sz="900" spc="-6" dirty="0">
                <a:latin typeface="+mj-lt"/>
                <a:cs typeface="Avenir LT Pro 55 Roman"/>
              </a:rPr>
              <a:t>Number</a:t>
            </a:r>
            <a:r>
              <a:rPr sz="900" spc="-22" dirty="0">
                <a:latin typeface="+mj-lt"/>
                <a:cs typeface="Avenir LT Pro 55 Roman"/>
              </a:rPr>
              <a:t> </a:t>
            </a:r>
            <a:r>
              <a:rPr sz="900" dirty="0">
                <a:latin typeface="+mj-lt"/>
                <a:cs typeface="Avenir LT Pro 55 Roman"/>
              </a:rPr>
              <a:t>of</a:t>
            </a:r>
            <a:br>
              <a:rPr lang="en-GB" sz="900" spc="-19" dirty="0">
                <a:latin typeface="+mj-lt"/>
                <a:cs typeface="Avenir LT Pro 55 Roman"/>
              </a:rPr>
            </a:br>
            <a:r>
              <a:rPr sz="900" spc="-6" dirty="0">
                <a:latin typeface="+mj-lt"/>
                <a:cs typeface="Avenir LT Pro 55 Roman"/>
              </a:rPr>
              <a:t>factories</a:t>
            </a:r>
            <a:endParaRPr sz="900" dirty="0">
              <a:latin typeface="+mj-lt"/>
              <a:cs typeface="Avenir LT Pro 55 Roman"/>
            </a:endParaRPr>
          </a:p>
        </p:txBody>
      </p:sp>
      <p:sp>
        <p:nvSpPr>
          <p:cNvPr id="94" name="object 19">
            <a:extLst>
              <a:ext uri="{FF2B5EF4-FFF2-40B4-BE49-F238E27FC236}">
                <a16:creationId xmlns:a16="http://schemas.microsoft.com/office/drawing/2014/main" id="{A3042F8A-7368-D223-1687-06F4283B76F5}"/>
              </a:ext>
            </a:extLst>
          </p:cNvPr>
          <p:cNvSpPr txBox="1"/>
          <p:nvPr/>
        </p:nvSpPr>
        <p:spPr>
          <a:xfrm>
            <a:off x="2430958" y="3132213"/>
            <a:ext cx="1351173" cy="718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8145">
              <a:spcBef>
                <a:spcPts val="160"/>
              </a:spcBef>
              <a:defRPr sz="2000" b="1" spc="-6">
                <a:solidFill>
                  <a:srgbClr val="8D181F"/>
                </a:solidFill>
                <a:latin typeface="Avenir LT Pro 65 Medium"/>
                <a:cs typeface="Avenir LT Pro 65 Medium"/>
              </a:defRPr>
            </a:lvl1pPr>
          </a:lstStyle>
          <a:p>
            <a:r>
              <a:rPr lang="en-GB" sz="2400" dirty="0">
                <a:latin typeface="+mj-lt"/>
              </a:rPr>
              <a:t>~12,500</a:t>
            </a:r>
          </a:p>
          <a:p>
            <a:r>
              <a:rPr lang="en-GB" sz="900" spc="-19" dirty="0">
                <a:solidFill>
                  <a:schemeClr val="tx1"/>
                </a:solidFill>
                <a:latin typeface="+mj-lt"/>
              </a:rPr>
              <a:t>employees representing</a:t>
            </a:r>
          </a:p>
          <a:p>
            <a:r>
              <a:rPr lang="en-GB" sz="900" spc="-19" dirty="0">
                <a:solidFill>
                  <a:schemeClr val="tx1"/>
                </a:solidFill>
                <a:latin typeface="+mj-lt"/>
              </a:rPr>
              <a:t>88 nationaliti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CBA877-261B-CF5D-F8F2-95EB2EACD6A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28923" y="4692655"/>
            <a:ext cx="1320141" cy="54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E7DDC91-AE2D-FA2E-D7A1-A4664165125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47571" y="4698842"/>
            <a:ext cx="1382399" cy="54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3A9DFB2-F512-6B13-A04E-2793BB9B4FAE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0803" y="4692655"/>
            <a:ext cx="1582729" cy="540000"/>
          </a:xfrm>
          <a:prstGeom prst="rect">
            <a:avLst/>
          </a:prstGeom>
        </p:spPr>
      </p:pic>
      <p:pic>
        <p:nvPicPr>
          <p:cNvPr id="34" name="Picture 11">
            <a:extLst>
              <a:ext uri="{FF2B5EF4-FFF2-40B4-BE49-F238E27FC236}">
                <a16:creationId xmlns:a16="http://schemas.microsoft.com/office/drawing/2014/main" id="{C29331BA-3651-1F6E-7F8C-00C37979779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26" b="9326"/>
          <a:stretch/>
        </p:blipFill>
        <p:spPr>
          <a:xfrm>
            <a:off x="3727901" y="4751612"/>
            <a:ext cx="1269299" cy="433063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34FC4CD7-0CD1-A947-DAC5-776B4607288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236" y="4698347"/>
            <a:ext cx="1747061" cy="540000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DFF9BFB-E9FA-16BA-26C1-D52B634461AF}"/>
              </a:ext>
            </a:extLst>
          </p:cNvPr>
          <p:cNvCxnSpPr>
            <a:cxnSpLocks/>
          </p:cNvCxnSpPr>
          <p:nvPr/>
        </p:nvCxnSpPr>
        <p:spPr>
          <a:xfrm>
            <a:off x="379413" y="2875006"/>
            <a:ext cx="876458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221539C-FEF3-4911-3B87-F2BC407D016F}"/>
              </a:ext>
            </a:extLst>
          </p:cNvPr>
          <p:cNvCxnSpPr>
            <a:cxnSpLocks/>
          </p:cNvCxnSpPr>
          <p:nvPr/>
        </p:nvCxnSpPr>
        <p:spPr>
          <a:xfrm>
            <a:off x="379413" y="4563763"/>
            <a:ext cx="876458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2713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02B19A-5FCB-0790-1663-202035E4F1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1D0CA9-77AA-F52D-0F1A-EE416D58E87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3429000" y="6096000"/>
            <a:ext cx="8001000" cy="380400"/>
          </a:xfrm>
        </p:spPr>
        <p:txBody>
          <a:bodyPr/>
          <a:lstStyle/>
          <a:p>
            <a:r>
              <a:rPr lang="en-GB">
                <a:sym typeface="Symbol" panose="05050102010706020507" pitchFamily="18" charset="2"/>
              </a:rPr>
              <a:t>How to get to big scale renovations |  20 March 2025  |   ROCKWOOL A/S</a:t>
            </a:r>
            <a:endParaRPr lang="en-GB"/>
          </a:p>
        </p:txBody>
      </p:sp>
      <p:pic>
        <p:nvPicPr>
          <p:cNvPr id="17" name="Picture Placeholder 16" descr="A city with many buildings and a road&#10;&#10;AI-generated content may be incorrect.">
            <a:extLst>
              <a:ext uri="{FF2B5EF4-FFF2-40B4-BE49-F238E27FC236}">
                <a16:creationId xmlns:a16="http://schemas.microsoft.com/office/drawing/2014/main" id="{B7BF66A7-365F-5828-B9C4-5A39E1909F3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81" b="4981"/>
          <a:stretch>
            <a:fillRect/>
          </a:stretch>
        </p:blipFill>
        <p:spPr/>
      </p:pic>
      <p:sp>
        <p:nvSpPr>
          <p:cNvPr id="13" name="Title 12">
            <a:extLst>
              <a:ext uri="{FF2B5EF4-FFF2-40B4-BE49-F238E27FC236}">
                <a16:creationId xmlns:a16="http://schemas.microsoft.com/office/drawing/2014/main" id="{E45153AC-FFBD-A9A6-CBD4-3B53D12E390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bIns="252000"/>
          <a:lstStyle/>
          <a:p>
            <a:pPr>
              <a:spcAft>
                <a:spcPts val="1200"/>
              </a:spcAft>
            </a:pPr>
            <a:r>
              <a:rPr lang="en-US" sz="2800" b="0" dirty="0"/>
              <a:t>EUR20 trillion</a:t>
            </a:r>
            <a:br>
              <a:rPr lang="en-US" sz="2800" b="0" dirty="0"/>
            </a:br>
            <a:br>
              <a:rPr lang="en-US" sz="1600" b="0" dirty="0"/>
            </a:br>
            <a:r>
              <a:rPr lang="en-US" dirty="0"/>
              <a:t>Buildings are the EU’s most valuable asset class</a:t>
            </a:r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344A5C13-C59C-10B8-E286-FB9B3530D2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0" y="382200"/>
            <a:ext cx="381600" cy="1903800"/>
          </a:xfrm>
        </p:spPr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89906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88780-FF05-68D1-F7A9-1CAD443A6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99" y="381000"/>
            <a:ext cx="6854521" cy="763200"/>
          </a:xfrm>
        </p:spPr>
        <p:txBody>
          <a:bodyPr anchor="t">
            <a:normAutofit/>
          </a:bodyPr>
          <a:lstStyle/>
          <a:p>
            <a:r>
              <a:rPr lang="en-GB" dirty="0"/>
              <a:t>Energy efficient renovation supports </a:t>
            </a:r>
            <a:br>
              <a:rPr lang="en-GB" dirty="0"/>
            </a:br>
            <a:r>
              <a:rPr lang="en-GB" dirty="0"/>
              <a:t>EU must-win goals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12CAD3E-8AF8-42C9-3D8C-EC081269D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1524000"/>
            <a:ext cx="6857400" cy="4805680"/>
          </a:xfrm>
        </p:spPr>
        <p:txBody>
          <a:bodyPr vert="horz" lIns="0" tIns="0" rIns="360000" bIns="0" rtlCol="0" anchor="t">
            <a:noAutofit/>
          </a:bodyPr>
          <a:lstStyle/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Climate goals:</a:t>
            </a:r>
            <a:r>
              <a:rPr lang="en-US" dirty="0"/>
              <a:t> Reduce CO</a:t>
            </a:r>
            <a:r>
              <a:rPr lang="en-US" baseline="-25000" dirty="0"/>
              <a:t>2</a:t>
            </a:r>
            <a:r>
              <a:rPr lang="en-US" dirty="0"/>
              <a:t> emissions by decreasing reliance on fossil fuels for heating.</a:t>
            </a:r>
            <a:endParaRPr lang="en-US" b="1" dirty="0"/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Energy security: </a:t>
            </a:r>
            <a:r>
              <a:rPr lang="en-US" dirty="0"/>
              <a:t>Achieve energy independence by cutting gas imports.</a:t>
            </a:r>
          </a:p>
          <a:p>
            <a:pPr marL="179705" indent="-17970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Just transition: </a:t>
            </a:r>
            <a:r>
              <a:rPr lang="en-US" dirty="0"/>
              <a:t>Renovate some 25 million homes by 2030; ensure everyone lives, works, plays, and recovers in energy-efficient buildings without geographical limitations.</a:t>
            </a:r>
          </a:p>
          <a:p>
            <a:pPr marL="175895" indent="-17589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European competitiveness:</a:t>
            </a:r>
            <a:r>
              <a:rPr lang="en-US" dirty="0"/>
              <a:t>  European companies are particularly strong in energy efficiency technologies, thus providing a competitive edge for the EU economy. </a:t>
            </a:r>
          </a:p>
          <a:p>
            <a:pPr marL="175895" indent="-175895">
              <a:lnSpc>
                <a:spcPct val="100000"/>
              </a:lnSpc>
              <a:spcAft>
                <a:spcPts val="1200"/>
              </a:spcAft>
            </a:pPr>
            <a:r>
              <a:rPr lang="en-US" b="1" dirty="0"/>
              <a:t>Energy transition:</a:t>
            </a:r>
            <a:r>
              <a:rPr lang="en-US" dirty="0"/>
              <a:t> Free up competitively-priced electricity for industrial </a:t>
            </a:r>
            <a:r>
              <a:rPr lang="en-US" dirty="0" err="1"/>
              <a:t>decarbonisation</a:t>
            </a:r>
            <a:r>
              <a:rPr lang="en-US" dirty="0"/>
              <a:t> by reducing demand in the built environment.</a:t>
            </a:r>
            <a:endParaRPr lang="en-US" sz="2000" i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2DF3CB-A833-C95F-8FDB-FCFA68F9224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>
          <a:xfrm>
            <a:off x="11430000" y="6096000"/>
            <a:ext cx="381000" cy="380400"/>
          </a:xfrm>
        </p:spPr>
        <p:txBody>
          <a:bodyPr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pic>
        <p:nvPicPr>
          <p:cNvPr id="5" name="Picture Placeholder 4" descr="A person in protective gloves holding a piece of rock wool&#10;&#10;AI-generated content may be incorrect.">
            <a:extLst>
              <a:ext uri="{FF2B5EF4-FFF2-40B4-BE49-F238E27FC236}">
                <a16:creationId xmlns:a16="http://schemas.microsoft.com/office/drawing/2014/main" id="{E1E8F047-1943-8B15-084A-98F1947E346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23258" r="23258"/>
          <a:stretch/>
        </p:blipFill>
        <p:spPr/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6BC61C9-34E0-EE35-DB75-D6AB4F6A6C1F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37D8DDA7-D743-8480-994A-E6FC8476E06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430400" y="3810000"/>
            <a:ext cx="381600" cy="1524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1063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8002A-2522-083F-748F-EB5D6EF13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322" y="762000"/>
            <a:ext cx="5800444" cy="43942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3600" b="0" i="1" dirty="0">
                <a:solidFill>
                  <a:srgbClr val="212121"/>
                </a:solidFill>
              </a:rPr>
              <a:t>'Energy-efficient technologies are to </a:t>
            </a:r>
            <a:br>
              <a:rPr lang="en-US" sz="3600" b="0" i="1" dirty="0">
                <a:solidFill>
                  <a:srgbClr val="212121"/>
                </a:solidFill>
              </a:rPr>
            </a:br>
            <a:r>
              <a:rPr lang="en-US" sz="3600" b="0" i="1" dirty="0">
                <a:solidFill>
                  <a:srgbClr val="212121"/>
                </a:solidFill>
              </a:rPr>
              <a:t>a large extent made in Europe, thus providing </a:t>
            </a:r>
            <a:br>
              <a:rPr lang="en-US" sz="3600" b="0" i="1" dirty="0">
                <a:solidFill>
                  <a:srgbClr val="212121"/>
                </a:solidFill>
              </a:rPr>
            </a:br>
            <a:r>
              <a:rPr lang="en-US" sz="3600" b="0" i="1" dirty="0">
                <a:solidFill>
                  <a:srgbClr val="212121"/>
                </a:solidFill>
              </a:rPr>
              <a:t>a competitive edge </a:t>
            </a:r>
            <a:br>
              <a:rPr lang="en-US" sz="3600" b="0" i="1" dirty="0">
                <a:solidFill>
                  <a:srgbClr val="212121"/>
                </a:solidFill>
              </a:rPr>
            </a:br>
            <a:r>
              <a:rPr lang="en-US" sz="3600" b="0" i="1" dirty="0">
                <a:solidFill>
                  <a:srgbClr val="212121"/>
                </a:solidFill>
              </a:rPr>
              <a:t>for the EU economy’ </a:t>
            </a:r>
            <a:br>
              <a:rPr lang="en-US" sz="4800" b="0" i="1" dirty="0">
                <a:solidFill>
                  <a:srgbClr val="212121"/>
                </a:solidFill>
              </a:rPr>
            </a:br>
            <a:br>
              <a:rPr lang="en-US" sz="2000" b="0" dirty="0">
                <a:solidFill>
                  <a:srgbClr val="212121"/>
                </a:solidFill>
              </a:rPr>
            </a:br>
            <a:r>
              <a:rPr lang="en-US" sz="2000" b="0" dirty="0">
                <a:solidFill>
                  <a:srgbClr val="212121"/>
                </a:solidFill>
              </a:rPr>
              <a:t>- European Commission, January 2025</a:t>
            </a:r>
            <a:endParaRPr lang="en-US" sz="2400" b="0" dirty="0">
              <a:solidFill>
                <a:srgbClr val="212121"/>
              </a:solidFill>
            </a:endParaRPr>
          </a:p>
        </p:txBody>
      </p:sp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A8D88ABB-C2A0-428A-EC58-4701B5FB9D3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5866" r="457" b="-10"/>
          <a:stretch/>
        </p:blipFill>
        <p:spPr>
          <a:xfrm>
            <a:off x="6096000" y="0"/>
            <a:ext cx="6084888" cy="5715600"/>
          </a:xfr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875A64A-3739-8555-E5AD-2768BFF41AC7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3394D3D-A040-56B3-88FA-A0A31EE39FA4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7A0A16-EEE5-7066-3957-6D371924F89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905200" y="762000"/>
            <a:ext cx="381600" cy="1905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54B5E2-7CAD-3F34-420A-44833CDAA347}"/>
              </a:ext>
            </a:extLst>
          </p:cNvPr>
          <p:cNvSpPr txBox="1"/>
          <p:nvPr/>
        </p:nvSpPr>
        <p:spPr>
          <a:xfrm>
            <a:off x="6477001" y="4658344"/>
            <a:ext cx="5334000" cy="1437656"/>
          </a:xfrm>
          <a:prstGeom prst="rect">
            <a:avLst/>
          </a:prstGeom>
          <a:solidFill>
            <a:srgbClr val="1AB092"/>
          </a:solidFill>
        </p:spPr>
        <p:txBody>
          <a:bodyPr rot="0" spcFirstLastPara="0" vertOverflow="overflow" horzOverflow="overflow" vert="horz" wrap="square" lIns="180000" tIns="180000" rIns="180000" bIns="180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</a:rPr>
              <a:t>€78 billion+</a:t>
            </a:r>
          </a:p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Estimated value of energy saved by ROCKWOOL insulation products in 2024</a:t>
            </a:r>
          </a:p>
        </p:txBody>
      </p:sp>
    </p:spTree>
    <p:extLst>
      <p:ext uri="{BB962C8B-B14F-4D97-AF65-F5344CB8AC3E}">
        <p14:creationId xmlns:p14="http://schemas.microsoft.com/office/powerpoint/2010/main" val="1177451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52316C-467D-AD5D-DCF4-8BC30EFDF4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827CB-F5FD-D3E1-1AF4-A33D6C5EBE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143000"/>
            <a:ext cx="5426676" cy="3619200"/>
          </a:xfrm>
        </p:spPr>
        <p:txBody>
          <a:bodyPr vert="horz" lIns="0" tIns="0" rIns="360000" bIns="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3600" dirty="0">
                <a:solidFill>
                  <a:schemeClr val="accent4"/>
                </a:solidFill>
                <a:latin typeface="+mj-lt"/>
              </a:rPr>
              <a:t>Boosting energy independence</a:t>
            </a:r>
            <a:endParaRPr lang="pl-PL" sz="3600" dirty="0">
              <a:solidFill>
                <a:schemeClr val="accent4"/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endParaRPr lang="en-US" sz="3600" dirty="0">
              <a:latin typeface="+mj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2800" dirty="0">
                <a:latin typeface="+mj-lt"/>
              </a:rPr>
              <a:t>The</a:t>
            </a:r>
            <a:r>
              <a:rPr lang="en-US" sz="2800" dirty="0">
                <a:solidFill>
                  <a:srgbClr val="000000"/>
                </a:solidFill>
                <a:latin typeface="+mj-lt"/>
              </a:rPr>
              <a:t> new EU buildings legislation</a:t>
            </a:r>
            <a:r>
              <a:rPr lang="en-US" sz="2800" dirty="0">
                <a:latin typeface="+mj-lt"/>
              </a:rPr>
              <a:t> can</a:t>
            </a:r>
            <a:r>
              <a:rPr lang="en-US" sz="28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en-US" sz="2800" dirty="0">
                <a:latin typeface="+mj-lt"/>
              </a:rPr>
              <a:t>save </a:t>
            </a:r>
            <a:br>
              <a:rPr lang="en-US" sz="2800" dirty="0">
                <a:latin typeface="+mj-lt"/>
              </a:rPr>
            </a:br>
            <a:r>
              <a:rPr lang="en-US" sz="2800" b="1" dirty="0">
                <a:solidFill>
                  <a:srgbClr val="FF7768"/>
                </a:solidFill>
                <a:latin typeface="+mj-lt"/>
              </a:rPr>
              <a:t>45 billion </a:t>
            </a:r>
            <a:r>
              <a:rPr lang="en-US" sz="2800" dirty="0">
                <a:solidFill>
                  <a:srgbClr val="FF7768"/>
                </a:solidFill>
                <a:latin typeface="+mj-lt"/>
              </a:rPr>
              <a:t>cubic </a:t>
            </a:r>
            <a:br>
              <a:rPr lang="en-US" sz="2800" dirty="0">
                <a:solidFill>
                  <a:srgbClr val="FF7768"/>
                </a:solidFill>
                <a:latin typeface="+mj-lt"/>
              </a:rPr>
            </a:br>
            <a:r>
              <a:rPr lang="en-US" sz="2800" dirty="0">
                <a:solidFill>
                  <a:srgbClr val="FF7768"/>
                </a:solidFill>
                <a:latin typeface="+mj-lt"/>
              </a:rPr>
              <a:t>meters of gas </a:t>
            </a:r>
            <a:br>
              <a:rPr lang="en-US" sz="2800" dirty="0">
                <a:solidFill>
                  <a:srgbClr val="FF7768"/>
                </a:solidFill>
                <a:latin typeface="+mj-lt"/>
              </a:rPr>
            </a:br>
            <a:r>
              <a:rPr lang="en-US" sz="2800" dirty="0">
                <a:solidFill>
                  <a:srgbClr val="FF7768"/>
                </a:solidFill>
                <a:latin typeface="+mj-lt"/>
              </a:rPr>
              <a:t>imports every year</a:t>
            </a:r>
            <a:endParaRPr lang="pl-PL" sz="2800" dirty="0">
              <a:solidFill>
                <a:srgbClr val="FF7768"/>
              </a:solidFill>
              <a:latin typeface="+mj-lt"/>
            </a:endParaRP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A98055F8-BD5F-2A7B-A51D-98813781A98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62" r="36670"/>
          <a:stretch/>
        </p:blipFill>
        <p:spPr>
          <a:xfrm>
            <a:off x="4953000" y="0"/>
            <a:ext cx="7240588" cy="6096000"/>
          </a:xfr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B4A690-369F-B542-F014-58BD50DDF1B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2A6474C-E01F-5FB3-CF90-0DEC6777B08D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D4DFD4-C91B-C35D-EB9D-036256B39C1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762200" y="2996119"/>
            <a:ext cx="381600" cy="2042809"/>
          </a:xfrm>
          <a:solidFill>
            <a:srgbClr val="FF7768"/>
          </a:solidFill>
        </p:spPr>
        <p:txBody>
          <a:bodyPr/>
          <a:lstStyle/>
          <a:p>
            <a:endParaRPr lang="pl-PL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CA3EAA-FE8F-213A-A35B-059ACCDD27E3}"/>
              </a:ext>
            </a:extLst>
          </p:cNvPr>
          <p:cNvSpPr/>
          <p:nvPr/>
        </p:nvSpPr>
        <p:spPr>
          <a:xfrm>
            <a:off x="9525000" y="2475690"/>
            <a:ext cx="2285999" cy="1667198"/>
          </a:xfrm>
          <a:prstGeom prst="rect">
            <a:avLst/>
          </a:prstGeom>
          <a:solidFill>
            <a:srgbClr val="FF7768"/>
          </a:solidFill>
          <a:ln w="38100">
            <a:noFill/>
          </a:ln>
        </p:spPr>
        <p:txBody>
          <a:bodyPr wrap="square" lIns="36000" tIns="180000" rIns="180000" bIns="180000" anchor="t">
            <a:noAutofit/>
          </a:bodyPr>
          <a:lstStyle/>
          <a:p>
            <a:pPr marL="0" marR="0" lvl="0" indent="0" algn="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25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prstClr val="white"/>
                </a:solidFill>
                <a:latin typeface="Avenir Next LT Pro"/>
                <a:ea typeface="Calibri"/>
              </a:rPr>
              <a:t>45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bc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 is equivalent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to about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425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/>
                <a:cs typeface="+mn-cs"/>
              </a:rPr>
              <a:t>fully loaded LNG carriers</a:t>
            </a:r>
            <a:endParaRPr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/>
              <a:ea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056F0C-279A-61BE-7455-820B87F06FCA}"/>
              </a:ext>
            </a:extLst>
          </p:cNvPr>
          <p:cNvSpPr/>
          <p:nvPr/>
        </p:nvSpPr>
        <p:spPr>
          <a:xfrm>
            <a:off x="9525000" y="4355275"/>
            <a:ext cx="2286000" cy="1356483"/>
          </a:xfrm>
          <a:prstGeom prst="rect">
            <a:avLst/>
          </a:prstGeom>
          <a:solidFill>
            <a:srgbClr val="FF7768"/>
          </a:solidFill>
          <a:ln w="38100">
            <a:noFill/>
          </a:ln>
        </p:spPr>
        <p:txBody>
          <a:bodyPr wrap="square" lIns="180000" tIns="180000" rIns="180000" bIns="180000">
            <a:noAutofit/>
          </a:bodyPr>
          <a:lstStyle/>
          <a:p>
            <a:pPr marL="0" marR="0" lvl="0" indent="0" algn="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90%</a:t>
            </a:r>
          </a:p>
          <a:p>
            <a:pPr marL="0" marR="0" lvl="0" indent="0" algn="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of EU gas needs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are imported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1683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63EEE1-7FB8-69E7-7324-69F32B680E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metal structure with a tower in the background&#10;&#10;Description automatically generated">
            <a:extLst>
              <a:ext uri="{FF2B5EF4-FFF2-40B4-BE49-F238E27FC236}">
                <a16:creationId xmlns:a16="http://schemas.microsoft.com/office/drawing/2014/main" id="{A87DDF7D-48C6-CDC4-C182-D82E93E4D08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43" r="21510" b="9646"/>
          <a:stretch/>
        </p:blipFill>
        <p:spPr>
          <a:xfrm>
            <a:off x="5715000" y="-1"/>
            <a:ext cx="6478588" cy="6096001"/>
          </a:xfrm>
          <a:gradFill>
            <a:gsLst>
              <a:gs pos="100000">
                <a:schemeClr val="tx1"/>
              </a:gs>
              <a:gs pos="0">
                <a:schemeClr val="tx1">
                  <a:alpha val="0"/>
                </a:schemeClr>
              </a:gs>
            </a:gsLst>
            <a:lin ang="5400000" scaled="0"/>
          </a:gradFill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C196A4C-3BE6-45BD-ED57-D59A381984D6}"/>
              </a:ext>
            </a:extLst>
          </p:cNvPr>
          <p:cNvSpPr/>
          <p:nvPr/>
        </p:nvSpPr>
        <p:spPr>
          <a:xfrm>
            <a:off x="9334800" y="0"/>
            <a:ext cx="2857200" cy="6096000"/>
          </a:xfrm>
          <a:prstGeom prst="rect">
            <a:avLst/>
          </a:prstGeom>
          <a:gradFill>
            <a:gsLst>
              <a:gs pos="100000">
                <a:schemeClr val="tx1">
                  <a:alpha val="49000"/>
                </a:schemeClr>
              </a:gs>
              <a:gs pos="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lnSpc>
                <a:spcPct val="90000"/>
              </a:lnSpc>
            </a:pPr>
            <a:endParaRPr lang="pl-PL" sz="1800" noProof="0" dirty="0" err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80CF05-5B47-6FD4-9396-C0F2F9E36B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600" y="770238"/>
            <a:ext cx="5143711" cy="4766023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spcAft>
                <a:spcPts val="1200"/>
              </a:spcAft>
              <a:buNone/>
            </a:pPr>
            <a:r>
              <a:rPr lang="en-US" sz="3600" dirty="0">
                <a:solidFill>
                  <a:schemeClr val="accent4"/>
                </a:solidFill>
              </a:rPr>
              <a:t>The EPBD introduces mandatory renovation </a:t>
            </a:r>
            <a:br>
              <a:rPr lang="en-US" sz="3600" dirty="0">
                <a:solidFill>
                  <a:schemeClr val="accent4"/>
                </a:solidFill>
              </a:rPr>
            </a:br>
            <a:r>
              <a:rPr lang="en-US" sz="3600" dirty="0"/>
              <a:t>goals for the EU’s </a:t>
            </a:r>
            <a:br>
              <a:rPr lang="en-US" sz="3600" dirty="0"/>
            </a:br>
            <a:r>
              <a:rPr lang="en-US" sz="3600" dirty="0"/>
              <a:t>250m buildings</a:t>
            </a:r>
            <a:endParaRPr lang="en-US" sz="3600" b="1" dirty="0"/>
          </a:p>
          <a:p>
            <a:pPr marL="0" indent="0">
              <a:lnSpc>
                <a:spcPct val="100000"/>
              </a:lnSpc>
              <a:buNone/>
            </a:pPr>
            <a:endParaRPr lang="en-US" sz="3600" dirty="0">
              <a:ea typeface="+mn-lt"/>
              <a:cs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GB" sz="2800" dirty="0">
                <a:solidFill>
                  <a:schemeClr val="accent6"/>
                </a:solidFill>
                <a:ea typeface="+mn-lt"/>
                <a:cs typeface="+mn-lt"/>
              </a:rPr>
              <a:t>Renovation</a:t>
            </a:r>
            <a:r>
              <a:rPr lang="en-GB" sz="2800" dirty="0">
                <a:ea typeface="+mn-lt"/>
                <a:cs typeface="+mn-lt"/>
              </a:rPr>
              <a:t> is </a:t>
            </a:r>
            <a:r>
              <a:rPr lang="en-GB" sz="2800" dirty="0">
                <a:solidFill>
                  <a:schemeClr val="accent6"/>
                </a:solidFill>
                <a:ea typeface="+mn-lt"/>
                <a:cs typeface="+mn-lt"/>
              </a:rPr>
              <a:t>essential</a:t>
            </a:r>
            <a:r>
              <a:rPr lang="en-GB" sz="2800" dirty="0">
                <a:ea typeface="+mn-lt"/>
                <a:cs typeface="+mn-lt"/>
              </a:rPr>
              <a:t> to deliver the 2050 climate neutrality </a:t>
            </a:r>
            <a:r>
              <a:rPr lang="en-GB" sz="2800" dirty="0">
                <a:solidFill>
                  <a:schemeClr val="accent6"/>
                </a:solidFill>
                <a:ea typeface="+mn-lt"/>
                <a:cs typeface="+mn-lt"/>
              </a:rPr>
              <a:t>goal</a:t>
            </a:r>
            <a:endParaRPr lang="en-US" sz="280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3E3C4B3-EB2A-0BED-3FE7-B42E7D5C8620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7796732-639C-0810-2BA9-4038B0ECFE42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95C74E3-8F60-F191-3B4B-165FA1484F8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24200" y="3735422"/>
            <a:ext cx="381600" cy="1381328"/>
          </a:xfrm>
          <a:solidFill>
            <a:srgbClr val="45A6DE"/>
          </a:solidFill>
        </p:spPr>
        <p:txBody>
          <a:bodyPr/>
          <a:lstStyle/>
          <a:p>
            <a:endParaRPr lang="pl-PL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B782F51-8B33-6C17-A043-F244D32E858C}"/>
              </a:ext>
            </a:extLst>
          </p:cNvPr>
          <p:cNvSpPr/>
          <p:nvPr/>
        </p:nvSpPr>
        <p:spPr>
          <a:xfrm>
            <a:off x="9695934" y="3773342"/>
            <a:ext cx="2115065" cy="1868955"/>
          </a:xfrm>
          <a:prstGeom prst="rect">
            <a:avLst/>
          </a:prstGeom>
          <a:solidFill>
            <a:srgbClr val="45A6DE"/>
          </a:solidFill>
          <a:ln w="38100">
            <a:noFill/>
          </a:ln>
        </p:spPr>
        <p:txBody>
          <a:bodyPr wrap="square" lIns="180000" tIns="72000" rIns="180000" bIns="72000">
            <a:spAutoFit/>
          </a:bodyPr>
          <a:lstStyle/>
          <a:p>
            <a:pPr marL="0" marR="0" lvl="0" indent="0" algn="r" defTabSz="914354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40%</a:t>
            </a:r>
          </a:p>
          <a:p>
            <a:pPr marL="0" marR="0" lvl="0" indent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of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the energy consumed in the EU comes from th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building secto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41F3A2-783D-C3A9-26C2-E2E8326B482F}"/>
              </a:ext>
            </a:extLst>
          </p:cNvPr>
          <p:cNvSpPr/>
          <p:nvPr/>
        </p:nvSpPr>
        <p:spPr>
          <a:xfrm>
            <a:off x="9695934" y="1923757"/>
            <a:ext cx="2115065" cy="1622734"/>
          </a:xfrm>
          <a:prstGeom prst="rect">
            <a:avLst/>
          </a:prstGeom>
          <a:solidFill>
            <a:srgbClr val="45A6DE"/>
          </a:solidFill>
          <a:ln w="38100">
            <a:noFill/>
          </a:ln>
        </p:spPr>
        <p:txBody>
          <a:bodyPr wrap="square" lIns="180000" tIns="72000" rIns="180000" bIns="72000">
            <a:spAutoFit/>
          </a:bodyPr>
          <a:lstStyle/>
          <a:p>
            <a:pPr marL="0" marR="0" lvl="0" indent="0" algn="r" defTabSz="914354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~1/3</a:t>
            </a:r>
          </a:p>
          <a:p>
            <a:pPr marL="0" marR="0" lvl="0" indent="0" algn="r" defTabSz="914354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of European Union emissions comes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venir Next LT Pro"/>
                <a:ea typeface="Calibri" panose="020F0502020204030204" pitchFamily="34" charset="0"/>
                <a:cs typeface="+mn-cs"/>
              </a:rPr>
              <a:t>from building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venir Next LT Pro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32605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building with many windows and plants growing on it&#10;&#10;Description automatically generated">
            <a:extLst>
              <a:ext uri="{FF2B5EF4-FFF2-40B4-BE49-F238E27FC236}">
                <a16:creationId xmlns:a16="http://schemas.microsoft.com/office/drawing/2014/main" id="{805B9D0D-E221-C9EE-0A28-970467D55C2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01000" y="381000"/>
            <a:ext cx="4192200" cy="5715000"/>
          </a:xfr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223C82E-823D-67E9-95B0-62F9200F84A6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GB"/>
              <a:t>How to get to big scale renovations |  20 March 2025  |   ROCKWOOL A/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6A4BDE0-598A-AC47-6E4D-AD39E044F57A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0DD2A8E-56EC-F598-5473-156C171E19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762000"/>
            <a:ext cx="7291647" cy="4572000"/>
          </a:xfrm>
        </p:spPr>
        <p:txBody>
          <a:bodyPr vert="horz" lIns="0" tIns="0" rIns="360000" bIns="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3600" dirty="0">
                <a:solidFill>
                  <a:schemeClr val="accent4"/>
                </a:solidFill>
              </a:rPr>
              <a:t>The new goals: </a:t>
            </a:r>
            <a:br>
              <a:rPr lang="en-US" sz="3600" b="1" dirty="0">
                <a:solidFill>
                  <a:schemeClr val="accent1"/>
                </a:solidFill>
              </a:rPr>
            </a:br>
            <a:r>
              <a:rPr lang="en-US" sz="3600" b="1" dirty="0"/>
              <a:t>Renovating</a:t>
            </a:r>
            <a:r>
              <a:rPr lang="en-US" sz="3600" b="1" dirty="0">
                <a:solidFill>
                  <a:schemeClr val="accent1"/>
                </a:solidFill>
              </a:rPr>
              <a:t> </a:t>
            </a:r>
            <a:r>
              <a:rPr lang="en-US" sz="3600" dirty="0">
                <a:solidFill>
                  <a:srgbClr val="000000"/>
                </a:solidFill>
              </a:rPr>
              <a:t>tens</a:t>
            </a:r>
            <a:r>
              <a:rPr lang="en-US" sz="3600" dirty="0"/>
              <a:t> of millions of buildings in less than a decad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A3CA61-0C7C-948C-88D2-DDB528DBCC58}"/>
              </a:ext>
            </a:extLst>
          </p:cNvPr>
          <p:cNvSpPr/>
          <p:nvPr/>
        </p:nvSpPr>
        <p:spPr>
          <a:xfrm>
            <a:off x="367146" y="3048000"/>
            <a:ext cx="2680854" cy="2667000"/>
          </a:xfrm>
          <a:prstGeom prst="rect">
            <a:avLst/>
          </a:prstGeom>
          <a:solidFill>
            <a:srgbClr val="45A6DE"/>
          </a:solidFill>
          <a:ln w="38100">
            <a:noFill/>
          </a:ln>
        </p:spPr>
        <p:txBody>
          <a:bodyPr wrap="square" lIns="216000" tIns="216000" rIns="108000" bIns="144000">
            <a:noAutofit/>
          </a:bodyPr>
          <a:lstStyle/>
          <a:p>
            <a:pPr defTabSz="914354">
              <a:lnSpc>
                <a:spcPct val="85000"/>
              </a:lnSpc>
              <a:buClr>
                <a:srgbClr val="000000"/>
              </a:buClr>
              <a:defRPr/>
            </a:pPr>
            <a:r>
              <a:rPr lang="en-GB" sz="4800" b="1" dirty="0">
                <a:solidFill>
                  <a:srgbClr val="FFFFFF"/>
                </a:solidFill>
              </a:rPr>
              <a:t>26%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ea typeface="Calibri" panose="020F0502020204030204" pitchFamily="34" charset="0"/>
              </a:rPr>
              <a:t>of offices, schools, hospitals, commercial and other non-residential buildings must be renovated by 2033.</a:t>
            </a:r>
            <a:endParaRPr lang="en-GB" sz="1600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77B0B77-1AD3-D584-9602-A7DD414EDD33}"/>
              </a:ext>
            </a:extLst>
          </p:cNvPr>
          <p:cNvSpPr/>
          <p:nvPr/>
        </p:nvSpPr>
        <p:spPr>
          <a:xfrm>
            <a:off x="3431704" y="3048000"/>
            <a:ext cx="2680854" cy="2667000"/>
          </a:xfrm>
          <a:prstGeom prst="rect">
            <a:avLst/>
          </a:prstGeom>
          <a:solidFill>
            <a:srgbClr val="1AB092"/>
          </a:solidFill>
          <a:ln w="38100">
            <a:noFill/>
          </a:ln>
        </p:spPr>
        <p:txBody>
          <a:bodyPr wrap="square" lIns="216000" tIns="216000" rIns="108000" bIns="144000" anchor="t">
            <a:noAutofit/>
          </a:bodyPr>
          <a:lstStyle/>
          <a:p>
            <a:pPr defTabSz="914354">
              <a:lnSpc>
                <a:spcPct val="85000"/>
              </a:lnSpc>
              <a:buClr>
                <a:srgbClr val="000000"/>
              </a:buClr>
              <a:defRPr/>
            </a:pPr>
            <a:r>
              <a:rPr lang="en-GB" sz="4800" b="1" dirty="0">
                <a:solidFill>
                  <a:srgbClr val="FFFFFF"/>
                </a:solidFill>
              </a:rPr>
              <a:t>16% 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ea typeface="Calibri" panose="020F0502020204030204" pitchFamily="34" charset="0"/>
              </a:rPr>
              <a:t>reduction of the average energy use of residential buildings by 2030.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solidFill>
                  <a:schemeClr val="bg1"/>
                </a:solidFill>
                <a:ea typeface="Calibri"/>
              </a:rPr>
              <a:t>Countries will focus on renovating the least-efficient buildings.</a:t>
            </a:r>
            <a:endParaRPr lang="en-GB" sz="1600" dirty="0">
              <a:solidFill>
                <a:schemeClr val="bg1"/>
              </a:solidFill>
              <a:ea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79415CE-3BD4-BDED-6F48-68C6FA5AFF11}"/>
              </a:ext>
            </a:extLst>
          </p:cNvPr>
          <p:cNvSpPr/>
          <p:nvPr/>
        </p:nvSpPr>
        <p:spPr>
          <a:xfrm>
            <a:off x="6456040" y="3048000"/>
            <a:ext cx="2680854" cy="2667000"/>
          </a:xfrm>
          <a:prstGeom prst="rect">
            <a:avLst/>
          </a:prstGeom>
          <a:solidFill>
            <a:srgbClr val="FF7768"/>
          </a:solidFill>
          <a:ln w="38100">
            <a:noFill/>
          </a:ln>
        </p:spPr>
        <p:txBody>
          <a:bodyPr wrap="square" lIns="216000" tIns="216000" rIns="108000" bIns="144000">
            <a:noAutofit/>
          </a:bodyPr>
          <a:lstStyle/>
          <a:p>
            <a:pPr defTabSz="914354">
              <a:lnSpc>
                <a:spcPct val="85000"/>
              </a:lnSpc>
              <a:buClr>
                <a:srgbClr val="000000"/>
              </a:buClr>
              <a:defRPr/>
            </a:pPr>
            <a:r>
              <a:rPr lang="en-GB" sz="4800" b="1" dirty="0">
                <a:solidFill>
                  <a:srgbClr val="FFFFFF"/>
                </a:solidFill>
              </a:rPr>
              <a:t>3%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chemeClr val="bg1"/>
                </a:solidFill>
                <a:ea typeface="Calibri" panose="020F0502020204030204" pitchFamily="34" charset="0"/>
              </a:rPr>
              <a:t>of public buildings </a:t>
            </a:r>
            <a:br>
              <a:rPr lang="en-US" sz="1600" dirty="0">
                <a:solidFill>
                  <a:schemeClr val="bg1"/>
                </a:solidFill>
                <a:ea typeface="Calibri" panose="020F0502020204030204" pitchFamily="34" charset="0"/>
              </a:rPr>
            </a:br>
            <a:r>
              <a:rPr lang="en-US" sz="1600" dirty="0">
                <a:solidFill>
                  <a:schemeClr val="bg1"/>
                </a:solidFill>
                <a:ea typeface="Calibri" panose="020F0502020204030204" pitchFamily="34" charset="0"/>
              </a:rPr>
              <a:t>to be renovated every year to ‘zero emissions’ level (part of the Energy Efficiency Directive)</a:t>
            </a:r>
            <a:endParaRPr lang="en-GB" sz="1600" dirty="0">
              <a:solidFill>
                <a:schemeClr val="bg1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935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lyndo\AppData\Local\Templafy\AddIns\PowerPointVsto\dc6e01c2-cc14-4036-b41f-6217d50e7834.jp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KRAS\AppData\Local\Templafy\AddIns\PowerPointVsto\c3806faa-db80-47b1-8523-1465e153439e.jp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icsi\AppData\Local\Templafy\AddIns\PowerPointVsto\RGB Lapinus® logo - Primary Colour.p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icsi\AppData\Local\Templafy\AddIns\PowerPointVsto\RGB Rockfon® logo - Primary Colour.p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icsi\AppData\Local\Templafy\AddIns\PowerPointVsto\RGB Rockpanel® logo - Primary Colour.p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micsi\AppData\Local\Templafy\AddIns\PowerPointVsto\RGB Grodan® logo - Primary Colour.png"/>
</p:tagLst>
</file>

<file path=ppt/theme/theme1.xml><?xml version="1.0" encoding="utf-8"?>
<a:theme xmlns:a="http://schemas.openxmlformats.org/drawingml/2006/main" name="ROCKWOOL© PowerPoint template">
  <a:themeElements>
    <a:clrScheme name="ROCKWOOL">
      <a:dk1>
        <a:sysClr val="windowText" lastClr="000000"/>
      </a:dk1>
      <a:lt1>
        <a:sysClr val="window" lastClr="FFFFFF"/>
      </a:lt1>
      <a:dk2>
        <a:srgbClr val="63666A"/>
      </a:dk2>
      <a:lt2>
        <a:srgbClr val="D8D9DA"/>
      </a:lt2>
      <a:accent1>
        <a:srgbClr val="D20014"/>
      </a:accent1>
      <a:accent2>
        <a:srgbClr val="63666A"/>
      </a:accent2>
      <a:accent3>
        <a:srgbClr val="B1B2B4"/>
      </a:accent3>
      <a:accent4>
        <a:srgbClr val="8C0F1E"/>
      </a:accent4>
      <a:accent5>
        <a:srgbClr val="D6B874"/>
      </a:accent5>
      <a:accent6>
        <a:srgbClr val="45A6DE"/>
      </a:accent6>
      <a:hlink>
        <a:srgbClr val="000000"/>
      </a:hlink>
      <a:folHlink>
        <a:srgbClr val="636669"/>
      </a:folHlink>
    </a:clrScheme>
    <a:fontScheme name="ROCKWOOL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lnSpc>
            <a:spcPct val="90000"/>
          </a:lnSpc>
          <a:defRPr sz="18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1800" dirty="0" err="1"/>
        </a:defPPr>
      </a:lstStyle>
    </a:txDef>
  </a:objectDefaults>
  <a:extraClrSchemeLst/>
  <a:custClrLst>
    <a:custClr name="Rockpanel">
      <a:srgbClr val="25335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Cedar Green">
      <a:srgbClr val="1AB092"/>
    </a:custClr>
    <a:custClr name="Ocean Blue">
      <a:srgbClr val="45A6DE"/>
    </a:custClr>
    <a:custClr name="Coral Red">
      <a:srgbClr val="FF7768"/>
    </a:custClr>
    <a:custClr name="Stone Beige">
      <a:srgbClr val="D6BB74"/>
    </a:custClr>
    <a:custClr name="Sun Yellow">
      <a:srgbClr val="EBEA79"/>
    </a:custClr>
    <a:custClr name="Rockfon">
      <a:srgbClr val="00638E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75%">
      <a:srgbClr val="54C4AD"/>
    </a:custClr>
    <a:custClr name="75%">
      <a:srgbClr val="73BCE6"/>
    </a:custClr>
    <a:custClr name="75%">
      <a:srgbClr val="FF9A8E"/>
    </a:custClr>
    <a:custClr name="75%">
      <a:srgbClr val="E0CC97"/>
    </a:custClr>
    <a:custClr name="75%">
      <a:srgbClr val="F0EF9B"/>
    </a:custClr>
    <a:custClr name="Lapinus">
      <a:srgbClr val="002D72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50%">
      <a:srgbClr val="8DD7C8"/>
    </a:custClr>
    <a:custClr name="50%">
      <a:srgbClr val="A2D2EE"/>
    </a:custClr>
    <a:custClr name="50%">
      <a:srgbClr val="FBBBB4"/>
    </a:custClr>
    <a:custClr name="50%">
      <a:srgbClr val="EBDDB9"/>
    </a:custClr>
    <a:custClr name="50%">
      <a:srgbClr val="F5F5BC"/>
    </a:custClr>
    <a:custClr name="Grodan">
      <a:srgbClr val="009933"/>
    </a:custClr>
    <a:custClr name="Grodan 101">
      <a:srgbClr val="2E1A46"/>
    </a:custClr>
    <a:custClr name="White">
      <a:srgbClr val="FFFFFF"/>
    </a:custClr>
    <a:custClr name="White">
      <a:srgbClr val="FFFFFF"/>
    </a:custClr>
    <a:custClr name="White">
      <a:srgbClr val="FFFFFF"/>
    </a:custClr>
    <a:custClr name="25%">
      <a:srgbClr val="C6EBE4"/>
    </a:custClr>
    <a:custClr name="25%">
      <a:srgbClr val="D0E9F7"/>
    </a:custClr>
    <a:custClr name="25%">
      <a:srgbClr val="FFDDD9"/>
    </a:custClr>
    <a:custClr name="25%">
      <a:srgbClr val="F5EEDC"/>
    </a:custClr>
    <a:custClr name="25%">
      <a:srgbClr val="FAFADE"/>
    </a:custClr>
  </a:custClrLst>
  <a:extLst>
    <a:ext uri="{05A4C25C-085E-4340-85A3-A5531E510DB2}">
      <thm15:themeFamily xmlns:thm15="http://schemas.microsoft.com/office/thememl/2012/main" name="ROCKWOOL 16-9 ENG 2024.potx" id="{5963B2F3-EF36-4541-A844-FBEF026A2F43}" vid="{16B7E2A1-E0F6-489B-8F34-9063A3CA6895}"/>
    </a:ext>
  </a:extLst>
</a:theme>
</file>

<file path=ppt/theme/theme2.xml><?xml version="1.0" encoding="utf-8"?>
<a:theme xmlns:a="http://schemas.openxmlformats.org/drawingml/2006/main" name="ROCKWOOL© PowerPoint template">
  <a:themeElements>
    <a:clrScheme name="ROCKWOOL">
      <a:dk1>
        <a:sysClr val="windowText" lastClr="000000"/>
      </a:dk1>
      <a:lt1>
        <a:sysClr val="window" lastClr="FFFFFF"/>
      </a:lt1>
      <a:dk2>
        <a:srgbClr val="63666A"/>
      </a:dk2>
      <a:lt2>
        <a:srgbClr val="D8D9DA"/>
      </a:lt2>
      <a:accent1>
        <a:srgbClr val="D20014"/>
      </a:accent1>
      <a:accent2>
        <a:srgbClr val="63666A"/>
      </a:accent2>
      <a:accent3>
        <a:srgbClr val="B1B2B4"/>
      </a:accent3>
      <a:accent4>
        <a:srgbClr val="8C0F1E"/>
      </a:accent4>
      <a:accent5>
        <a:srgbClr val="D6B874"/>
      </a:accent5>
      <a:accent6>
        <a:srgbClr val="45A6DE"/>
      </a:accent6>
      <a:hlink>
        <a:srgbClr val="000000"/>
      </a:hlink>
      <a:folHlink>
        <a:srgbClr val="636669"/>
      </a:folHlink>
    </a:clrScheme>
    <a:fontScheme name="ROCKWOOL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lnSpc>
            <a:spcPct val="90000"/>
          </a:lnSpc>
          <a:defRPr sz="18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90000"/>
          </a:lnSpc>
          <a:spcAft>
            <a:spcPts val="600"/>
          </a:spcAft>
          <a:defRPr sz="1800" dirty="0" err="1"/>
        </a:defPPr>
      </a:lstStyle>
    </a:txDef>
  </a:objectDefaults>
  <a:extraClrSchemeLst/>
  <a:custClrLst>
    <a:custClr name="Rockpanel">
      <a:srgbClr val="25335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Cedar Green">
      <a:srgbClr val="1AB092"/>
    </a:custClr>
    <a:custClr name="Ocean Blue">
      <a:srgbClr val="45A6DE"/>
    </a:custClr>
    <a:custClr name="Coral Red">
      <a:srgbClr val="FF7768"/>
    </a:custClr>
    <a:custClr name="Stone Beige">
      <a:srgbClr val="D6BB74"/>
    </a:custClr>
    <a:custClr name="Sun Yellow">
      <a:srgbClr val="EBEA79"/>
    </a:custClr>
    <a:custClr name="Rockfon">
      <a:srgbClr val="00638E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75%">
      <a:srgbClr val="54C4AD"/>
    </a:custClr>
    <a:custClr name="75%">
      <a:srgbClr val="73BCE6"/>
    </a:custClr>
    <a:custClr name="75%">
      <a:srgbClr val="FF9A8E"/>
    </a:custClr>
    <a:custClr name="75%">
      <a:srgbClr val="E0CC97"/>
    </a:custClr>
    <a:custClr name="75%">
      <a:srgbClr val="F0EF9B"/>
    </a:custClr>
    <a:custClr name="Lapinus">
      <a:srgbClr val="002D72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50%">
      <a:srgbClr val="8DD7C8"/>
    </a:custClr>
    <a:custClr name="50%">
      <a:srgbClr val="A2D2EE"/>
    </a:custClr>
    <a:custClr name="50%">
      <a:srgbClr val="FBBBB4"/>
    </a:custClr>
    <a:custClr name="50%">
      <a:srgbClr val="EBDDB9"/>
    </a:custClr>
    <a:custClr name="50%">
      <a:srgbClr val="F5F5BC"/>
    </a:custClr>
    <a:custClr name="Grodan">
      <a:srgbClr val="009933"/>
    </a:custClr>
    <a:custClr name="Grodan 101">
      <a:srgbClr val="2E1A46"/>
    </a:custClr>
    <a:custClr name="White">
      <a:srgbClr val="FFFFFF"/>
    </a:custClr>
    <a:custClr name="White">
      <a:srgbClr val="FFFFFF"/>
    </a:custClr>
    <a:custClr name="White">
      <a:srgbClr val="FFFFFF"/>
    </a:custClr>
    <a:custClr name="25%">
      <a:srgbClr val="C6EBE4"/>
    </a:custClr>
    <a:custClr name="25%">
      <a:srgbClr val="D0E9F7"/>
    </a:custClr>
    <a:custClr name="25%">
      <a:srgbClr val="FFDDD9"/>
    </a:custClr>
    <a:custClr name="25%">
      <a:srgbClr val="F5EEDC"/>
    </a:custClr>
    <a:custClr name="25%">
      <a:srgbClr val="FAFADE"/>
    </a:custClr>
  </a:custClrLst>
  <a:extLst>
    <a:ext uri="{05A4C25C-085E-4340-85A3-A5531E510DB2}">
      <thm15:themeFamily xmlns:thm15="http://schemas.microsoft.com/office/thememl/2012/main" name="ROCKWOOL 16-9 ENG 2024.potx" id="{5963B2F3-EF36-4541-A844-FBEF026A2F43}" vid="{16B7E2A1-E0F6-489B-8F34-9063A3CA689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2,"isValidatorEnabled":false,"isLocked":false,"elementsMetadata":[],"slideId":"638412531860679968","enableDocumentContentUpdater":false,"version":"2.0"}]]></TemplafySlideTemplateConfiguration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BA515A7BAE2A43BBCEEFC8DB246324" ma:contentTypeVersion="15" ma:contentTypeDescription="Create a new document." ma:contentTypeScope="" ma:versionID="39e442cfa5e5558afc218e08600e22b0">
  <xsd:schema xmlns:xsd="http://www.w3.org/2001/XMLSchema" xmlns:xs="http://www.w3.org/2001/XMLSchema" xmlns:p="http://schemas.microsoft.com/office/2006/metadata/properties" xmlns:ns2="57fe772f-00cf-4dad-b0cb-913608da9119" xmlns:ns3="c5f555a3-b848-4bea-9c8d-34a4da0e4343" targetNamespace="http://schemas.microsoft.com/office/2006/metadata/properties" ma:root="true" ma:fieldsID="f7b907b57351f06c171a175add3acdcc" ns2:_="" ns3:_="">
    <xsd:import namespace="57fe772f-00cf-4dad-b0cb-913608da9119"/>
    <xsd:import namespace="c5f555a3-b848-4bea-9c8d-34a4da0e43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fe772f-00cf-4dad-b0cb-913608da91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2e864938-2603-473d-8bcd-f12a868843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f555a3-b848-4bea-9c8d-34a4da0e434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afdac5b-07eb-4f5e-9c79-778fcf53685d}" ma:internalName="TaxCatchAll" ma:showField="CatchAllData" ma:web="c5f555a3-b848-4bea-9c8d-34a4da0e43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7fe772f-00cf-4dad-b0cb-913608da9119">
      <Terms xmlns="http://schemas.microsoft.com/office/infopath/2007/PartnerControls"/>
    </lcf76f155ced4ddcb4097134ff3c332f>
    <TaxCatchAll xmlns="c5f555a3-b848-4bea-9c8d-34a4da0e4343" xsi:nil="true"/>
  </documentManagement>
</p:properties>
</file>

<file path=customXml/itemProps1.xml><?xml version="1.0" encoding="utf-8"?>
<ds:datastoreItem xmlns:ds="http://schemas.openxmlformats.org/officeDocument/2006/customXml" ds:itemID="{7F9B7781-7112-4494-A981-2C1070CCF34B}">
  <ds:schemaRefs/>
</ds:datastoreItem>
</file>

<file path=customXml/itemProps2.xml><?xml version="1.0" encoding="utf-8"?>
<ds:datastoreItem xmlns:ds="http://schemas.openxmlformats.org/officeDocument/2006/customXml" ds:itemID="{5F0199A8-EDD1-453B-9CC2-6DA84E4EB283}">
  <ds:schemaRefs/>
</ds:datastoreItem>
</file>

<file path=customXml/itemProps3.xml><?xml version="1.0" encoding="utf-8"?>
<ds:datastoreItem xmlns:ds="http://schemas.openxmlformats.org/officeDocument/2006/customXml" ds:itemID="{4B9D3939-A079-43B2-970B-1435A7BED33A}"/>
</file>

<file path=customXml/itemProps4.xml><?xml version="1.0" encoding="utf-8"?>
<ds:datastoreItem xmlns:ds="http://schemas.openxmlformats.org/officeDocument/2006/customXml" ds:itemID="{492424AC-B08B-4BE1-821A-97AB3ECF5B29}"/>
</file>

<file path=customXml/itemProps5.xml><?xml version="1.0" encoding="utf-8"?>
<ds:datastoreItem xmlns:ds="http://schemas.openxmlformats.org/officeDocument/2006/customXml" ds:itemID="{FE82303B-E52B-4C40-A987-BE770850B251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13</Words>
  <Application>Microsoft Office PowerPoint</Application>
  <PresentationFormat>Widescreen</PresentationFormat>
  <Paragraphs>117</Paragraphs>
  <Slides>1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3" baseType="lpstr">
      <vt:lpstr>Avenir LT Pro 45 Book</vt:lpstr>
      <vt:lpstr>Aptos</vt:lpstr>
      <vt:lpstr>Arial</vt:lpstr>
      <vt:lpstr>Avenir Next LT Pro</vt:lpstr>
      <vt:lpstr>Calibri</vt:lpstr>
      <vt:lpstr>Symbol</vt:lpstr>
      <vt:lpstr>Wingdings</vt:lpstr>
      <vt:lpstr>ROCKWOOL© PowerPoint template</vt:lpstr>
      <vt:lpstr>ROCKWOOL© PowerPoint template</vt:lpstr>
      <vt:lpstr>think-cell Slide</vt:lpstr>
      <vt:lpstr>How to get to big scale renovations </vt:lpstr>
      <vt:lpstr>Mirella Vitale – ROCKWOOL Group</vt:lpstr>
      <vt:lpstr>ROCKWOOL at a glance</vt:lpstr>
      <vt:lpstr>EUR20 trillion  Buildings are the EU’s most valuable asset class</vt:lpstr>
      <vt:lpstr>Energy efficient renovation supports  EU must-win goals</vt:lpstr>
      <vt:lpstr>'Energy-efficient technologies are to  a large extent made in Europe, thus providing  a competitive edge  for the EU economy’   - European Commission, January 2025</vt:lpstr>
      <vt:lpstr>PowerPoint Presentation</vt:lpstr>
      <vt:lpstr>PowerPoint Presentation</vt:lpstr>
      <vt:lpstr>PowerPoint Presentation</vt:lpstr>
      <vt:lpstr>PowerPoint Presentation</vt:lpstr>
      <vt:lpstr>Buildings legislation –  from deal to on-the-ground delivery</vt:lpstr>
      <vt:lpstr>PowerPoint Presentation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offer B. Rasmussen</dc:creator>
  <cp:lastModifiedBy>Brook Riley</cp:lastModifiedBy>
  <cp:revision>11</cp:revision>
  <dcterms:created xsi:type="dcterms:W3CDTF">2013-07-15T20:26:40Z</dcterms:created>
  <dcterms:modified xsi:type="dcterms:W3CDTF">2025-03-18T11:5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BA515A7BAE2A43BBCEEFC8DB246324</vt:lpwstr>
  </property>
</Properties>
</file>